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  <p:sldMasterId id="2147483687" r:id="rId6"/>
    <p:sldMasterId id="2147483699" r:id="rId7"/>
  </p:sldMasterIdLst>
  <p:notesMasterIdLst>
    <p:notesMasterId r:id="rId13"/>
  </p:notesMasterIdLst>
  <p:sldIdLst>
    <p:sldId id="896" r:id="rId8"/>
    <p:sldId id="1275" r:id="rId9"/>
    <p:sldId id="1743" r:id="rId10"/>
    <p:sldId id="1273" r:id="rId11"/>
    <p:sldId id="127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rk, Connie" userId="73351e60-ad32-4085-a232-1d9f9b189479" providerId="ADAL" clId="{1712031B-0999-404D-92BA-B97253215D59}"/>
    <pc:docChg chg="undo custSel addSld delSld modSld sldOrd">
      <pc:chgData name="Clark, Connie" userId="73351e60-ad32-4085-a232-1d9f9b189479" providerId="ADAL" clId="{1712031B-0999-404D-92BA-B97253215D59}" dt="2021-03-01T02:16:24.776" v="896" actId="478"/>
      <pc:docMkLst>
        <pc:docMk/>
      </pc:docMkLst>
      <pc:sldChg chg="add del">
        <pc:chgData name="Clark, Connie" userId="73351e60-ad32-4085-a232-1d9f9b189479" providerId="ADAL" clId="{1712031B-0999-404D-92BA-B97253215D59}" dt="2021-02-08T14:31:59.629" v="439" actId="47"/>
        <pc:sldMkLst>
          <pc:docMk/>
          <pc:sldMk cId="30875577" sldId="626"/>
        </pc:sldMkLst>
      </pc:sldChg>
      <pc:sldChg chg="modSp add del mod">
        <pc:chgData name="Clark, Connie" userId="73351e60-ad32-4085-a232-1d9f9b189479" providerId="ADAL" clId="{1712031B-0999-404D-92BA-B97253215D59}" dt="2021-02-11T22:49:21.130" v="894" actId="47"/>
        <pc:sldMkLst>
          <pc:docMk/>
          <pc:sldMk cId="4206564761" sldId="734"/>
        </pc:sldMkLst>
        <pc:spChg chg="mod">
          <ac:chgData name="Clark, Connie" userId="73351e60-ad32-4085-a232-1d9f9b189479" providerId="ADAL" clId="{1712031B-0999-404D-92BA-B97253215D59}" dt="2021-02-11T21:58:55.739" v="582"/>
          <ac:spMkLst>
            <pc:docMk/>
            <pc:sldMk cId="4206564761" sldId="734"/>
            <ac:spMk id="3" creationId="{8C1DBA4D-66AA-41C3-A52C-02B9812CA1FB}"/>
          </ac:spMkLst>
        </pc:spChg>
      </pc:sldChg>
      <pc:sldChg chg="delSp modSp add del mod">
        <pc:chgData name="Clark, Connie" userId="73351e60-ad32-4085-a232-1d9f9b189479" providerId="ADAL" clId="{1712031B-0999-404D-92BA-B97253215D59}" dt="2021-03-01T02:16:24.776" v="896" actId="478"/>
        <pc:sldMkLst>
          <pc:docMk/>
          <pc:sldMk cId="3287457382" sldId="896"/>
        </pc:sldMkLst>
        <pc:spChg chg="mod">
          <ac:chgData name="Clark, Connie" userId="73351e60-ad32-4085-a232-1d9f9b189479" providerId="ADAL" clId="{1712031B-0999-404D-92BA-B97253215D59}" dt="2021-02-11T21:55:09.495" v="568" actId="1076"/>
          <ac:spMkLst>
            <pc:docMk/>
            <pc:sldMk cId="3287457382" sldId="896"/>
            <ac:spMk id="6" creationId="{D1999804-DAE1-4EA4-954D-13948786EF01}"/>
          </ac:spMkLst>
        </pc:spChg>
        <pc:spChg chg="mod">
          <ac:chgData name="Clark, Connie" userId="73351e60-ad32-4085-a232-1d9f9b189479" providerId="ADAL" clId="{1712031B-0999-404D-92BA-B97253215D59}" dt="2021-02-11T21:55:18.219" v="573" actId="20577"/>
          <ac:spMkLst>
            <pc:docMk/>
            <pc:sldMk cId="3287457382" sldId="896"/>
            <ac:spMk id="7" creationId="{B727CFFD-FBB7-4F08-85FF-BBEFDEE695C8}"/>
          </ac:spMkLst>
        </pc:spChg>
        <pc:picChg chg="del mod">
          <ac:chgData name="Clark, Connie" userId="73351e60-ad32-4085-a232-1d9f9b189479" providerId="ADAL" clId="{1712031B-0999-404D-92BA-B97253215D59}" dt="2021-03-01T02:16:24.776" v="896" actId="478"/>
          <ac:picMkLst>
            <pc:docMk/>
            <pc:sldMk cId="3287457382" sldId="896"/>
            <ac:picMk id="2" creationId="{C90152AD-81FC-48C7-BEDD-A0714C732DAB}"/>
          </ac:picMkLst>
        </pc:picChg>
        <pc:picChg chg="del">
          <ac:chgData name="Clark, Connie" userId="73351e60-ad32-4085-a232-1d9f9b189479" providerId="ADAL" clId="{1712031B-0999-404D-92BA-B97253215D59}" dt="2021-02-11T21:50:04.052" v="529" actId="478"/>
          <ac:picMkLst>
            <pc:docMk/>
            <pc:sldMk cId="3287457382" sldId="896"/>
            <ac:picMk id="5" creationId="{713D1667-2792-4457-A07A-CBEA2075AAAC}"/>
          </ac:picMkLst>
        </pc:picChg>
      </pc:sldChg>
      <pc:sldChg chg="addSp delSp modSp add del mod ord">
        <pc:chgData name="Clark, Connie" userId="73351e60-ad32-4085-a232-1d9f9b189479" providerId="ADAL" clId="{1712031B-0999-404D-92BA-B97253215D59}" dt="2021-02-11T21:55:58.525" v="578" actId="20577"/>
        <pc:sldMkLst>
          <pc:docMk/>
          <pc:sldMk cId="665348256" sldId="1267"/>
        </pc:sldMkLst>
        <pc:spChg chg="add mod">
          <ac:chgData name="Clark, Connie" userId="73351e60-ad32-4085-a232-1d9f9b189479" providerId="ADAL" clId="{1712031B-0999-404D-92BA-B97253215D59}" dt="2021-02-11T21:55:58.525" v="578" actId="20577"/>
          <ac:spMkLst>
            <pc:docMk/>
            <pc:sldMk cId="665348256" sldId="1267"/>
            <ac:spMk id="2" creationId="{3548570C-A5FD-4AAA-BFBE-D50889DC9130}"/>
          </ac:spMkLst>
        </pc:spChg>
        <pc:spChg chg="mod">
          <ac:chgData name="Clark, Connie" userId="73351e60-ad32-4085-a232-1d9f9b189479" providerId="ADAL" clId="{1712031B-0999-404D-92BA-B97253215D59}" dt="2021-02-05T04:10:18.372" v="250" actId="14100"/>
          <ac:spMkLst>
            <pc:docMk/>
            <pc:sldMk cId="665348256" sldId="1267"/>
            <ac:spMk id="8" creationId="{8DD6E8B4-F4AB-43C1-B907-A3B0048E5543}"/>
          </ac:spMkLst>
        </pc:spChg>
        <pc:spChg chg="mod">
          <ac:chgData name="Clark, Connie" userId="73351e60-ad32-4085-a232-1d9f9b189479" providerId="ADAL" clId="{1712031B-0999-404D-92BA-B97253215D59}" dt="2021-02-05T04:10:32.293" v="253" actId="1037"/>
          <ac:spMkLst>
            <pc:docMk/>
            <pc:sldMk cId="665348256" sldId="1267"/>
            <ac:spMk id="9" creationId="{950EF412-0313-48AF-8DBA-2F58A1206F22}"/>
          </ac:spMkLst>
        </pc:spChg>
        <pc:spChg chg="mod">
          <ac:chgData name="Clark, Connie" userId="73351e60-ad32-4085-a232-1d9f9b189479" providerId="ADAL" clId="{1712031B-0999-404D-92BA-B97253215D59}" dt="2021-02-05T04:10:13.355" v="249" actId="1037"/>
          <ac:spMkLst>
            <pc:docMk/>
            <pc:sldMk cId="665348256" sldId="1267"/>
            <ac:spMk id="11" creationId="{CD085A5E-B0CA-4B58-B5B7-D3FF003CB328}"/>
          </ac:spMkLst>
        </pc:spChg>
        <pc:spChg chg="mod">
          <ac:chgData name="Clark, Connie" userId="73351e60-ad32-4085-a232-1d9f9b189479" providerId="ADAL" clId="{1712031B-0999-404D-92BA-B97253215D59}" dt="2021-02-05T04:10:32.293" v="253" actId="1037"/>
          <ac:spMkLst>
            <pc:docMk/>
            <pc:sldMk cId="665348256" sldId="1267"/>
            <ac:spMk id="12" creationId="{C7285348-546D-477E-BB6E-0B900BEA65AC}"/>
          </ac:spMkLst>
        </pc:spChg>
        <pc:spChg chg="mod">
          <ac:chgData name="Clark, Connie" userId="73351e60-ad32-4085-a232-1d9f9b189479" providerId="ADAL" clId="{1712031B-0999-404D-92BA-B97253215D59}" dt="2021-02-05T04:06:37.944" v="9"/>
          <ac:spMkLst>
            <pc:docMk/>
            <pc:sldMk cId="665348256" sldId="1267"/>
            <ac:spMk id="75" creationId="{B912D3CF-A2FE-41E3-AE5D-B4FF587F5F2C}"/>
          </ac:spMkLst>
        </pc:spChg>
        <pc:spChg chg="mod">
          <ac:chgData name="Clark, Connie" userId="73351e60-ad32-4085-a232-1d9f9b189479" providerId="ADAL" clId="{1712031B-0999-404D-92BA-B97253215D59}" dt="2021-02-05T04:07:10.256" v="27" actId="20577"/>
          <ac:spMkLst>
            <pc:docMk/>
            <pc:sldMk cId="665348256" sldId="1267"/>
            <ac:spMk id="76" creationId="{D668DA08-4DD5-4F93-82FA-9EB3F60B85B1}"/>
          </ac:spMkLst>
        </pc:spChg>
        <pc:spChg chg="add mod">
          <ac:chgData name="Clark, Connie" userId="73351e60-ad32-4085-a232-1d9f9b189479" providerId="ADAL" clId="{1712031B-0999-404D-92BA-B97253215D59}" dt="2021-02-05T04:18:36.904" v="435" actId="20577"/>
          <ac:spMkLst>
            <pc:docMk/>
            <pc:sldMk cId="665348256" sldId="1267"/>
            <ac:spMk id="77" creationId="{EA0A8329-77C3-4662-8DB6-27EABE2F8B95}"/>
          </ac:spMkLst>
        </pc:spChg>
        <pc:spChg chg="mod">
          <ac:chgData name="Clark, Connie" userId="73351e60-ad32-4085-a232-1d9f9b189479" providerId="ADAL" clId="{1712031B-0999-404D-92BA-B97253215D59}" dt="2021-02-05T04:10:32.293" v="253" actId="1037"/>
          <ac:spMkLst>
            <pc:docMk/>
            <pc:sldMk cId="665348256" sldId="1267"/>
            <ac:spMk id="78" creationId="{2DCA052D-6E7A-4162-B2BD-5EEFD32522E8}"/>
          </ac:spMkLst>
        </pc:spChg>
        <pc:spChg chg="mod">
          <ac:chgData name="Clark, Connie" userId="73351e60-ad32-4085-a232-1d9f9b189479" providerId="ADAL" clId="{1712031B-0999-404D-92BA-B97253215D59}" dt="2021-02-05T04:09:08.737" v="92"/>
          <ac:spMkLst>
            <pc:docMk/>
            <pc:sldMk cId="665348256" sldId="1267"/>
            <ac:spMk id="81" creationId="{732DE82F-20F7-41A7-BCD6-489D91C77CC7}"/>
          </ac:spMkLst>
        </pc:spChg>
        <pc:spChg chg="mod">
          <ac:chgData name="Clark, Connie" userId="73351e60-ad32-4085-a232-1d9f9b189479" providerId="ADAL" clId="{1712031B-0999-404D-92BA-B97253215D59}" dt="2021-02-05T04:10:58.866" v="265" actId="20577"/>
          <ac:spMkLst>
            <pc:docMk/>
            <pc:sldMk cId="665348256" sldId="1267"/>
            <ac:spMk id="82" creationId="{113E77AC-4CD7-4D24-A943-75FE9FB3994C}"/>
          </ac:spMkLst>
        </pc:spChg>
        <pc:spChg chg="mod">
          <ac:chgData name="Clark, Connie" userId="73351e60-ad32-4085-a232-1d9f9b189479" providerId="ADAL" clId="{1712031B-0999-404D-92BA-B97253215D59}" dt="2021-02-05T04:10:32.293" v="253" actId="1037"/>
          <ac:spMkLst>
            <pc:docMk/>
            <pc:sldMk cId="665348256" sldId="1267"/>
            <ac:spMk id="144" creationId="{2F087556-7AC2-4083-8259-C966A7A5AB0C}"/>
          </ac:spMkLst>
        </pc:spChg>
        <pc:spChg chg="mod">
          <ac:chgData name="Clark, Connie" userId="73351e60-ad32-4085-a232-1d9f9b189479" providerId="ADAL" clId="{1712031B-0999-404D-92BA-B97253215D59}" dt="2021-02-05T04:10:32.293" v="253" actId="1037"/>
          <ac:spMkLst>
            <pc:docMk/>
            <pc:sldMk cId="665348256" sldId="1267"/>
            <ac:spMk id="145" creationId="{5AFD9CE6-A435-42F6-8A94-ED842C661B33}"/>
          </ac:spMkLst>
        </pc:spChg>
        <pc:spChg chg="mod">
          <ac:chgData name="Clark, Connie" userId="73351e60-ad32-4085-a232-1d9f9b189479" providerId="ADAL" clId="{1712031B-0999-404D-92BA-B97253215D59}" dt="2021-02-05T04:10:32.293" v="253" actId="1037"/>
          <ac:spMkLst>
            <pc:docMk/>
            <pc:sldMk cId="665348256" sldId="1267"/>
            <ac:spMk id="166" creationId="{9D61BAAF-9747-431D-B18E-8B28B6C44C31}"/>
          </ac:spMkLst>
        </pc:spChg>
        <pc:spChg chg="mod">
          <ac:chgData name="Clark, Connie" userId="73351e60-ad32-4085-a232-1d9f9b189479" providerId="ADAL" clId="{1712031B-0999-404D-92BA-B97253215D59}" dt="2021-02-05T04:10:32.293" v="253" actId="1037"/>
          <ac:spMkLst>
            <pc:docMk/>
            <pc:sldMk cId="665348256" sldId="1267"/>
            <ac:spMk id="177" creationId="{92D01EAC-D29A-486A-BEA2-A03A6A73E5AC}"/>
          </ac:spMkLst>
        </pc:spChg>
        <pc:spChg chg="mod">
          <ac:chgData name="Clark, Connie" userId="73351e60-ad32-4085-a232-1d9f9b189479" providerId="ADAL" clId="{1712031B-0999-404D-92BA-B97253215D59}" dt="2021-02-05T04:10:32.293" v="253" actId="1037"/>
          <ac:spMkLst>
            <pc:docMk/>
            <pc:sldMk cId="665348256" sldId="1267"/>
            <ac:spMk id="178" creationId="{F12DECF9-039D-4894-9541-016F2B20362C}"/>
          </ac:spMkLst>
        </pc:spChg>
        <pc:spChg chg="mod">
          <ac:chgData name="Clark, Connie" userId="73351e60-ad32-4085-a232-1d9f9b189479" providerId="ADAL" clId="{1712031B-0999-404D-92BA-B97253215D59}" dt="2021-02-05T04:10:47.673" v="258" actId="1038"/>
          <ac:spMkLst>
            <pc:docMk/>
            <pc:sldMk cId="665348256" sldId="1267"/>
            <ac:spMk id="198" creationId="{3AB1CA94-A332-4E21-B9A2-B25B27E6A40B}"/>
          </ac:spMkLst>
        </pc:spChg>
        <pc:spChg chg="mod">
          <ac:chgData name="Clark, Connie" userId="73351e60-ad32-4085-a232-1d9f9b189479" providerId="ADAL" clId="{1712031B-0999-404D-92BA-B97253215D59}" dt="2021-02-11T21:48:51.984" v="525" actId="20577"/>
          <ac:spMkLst>
            <pc:docMk/>
            <pc:sldMk cId="665348256" sldId="1267"/>
            <ac:spMk id="202" creationId="{BB5D210A-2E2A-4202-98F0-FBBB0AABD9DF}"/>
          </ac:spMkLst>
        </pc:spChg>
        <pc:grpChg chg="add 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74" creationId="{54BCF4F2-CCDB-406F-AF97-9FF309ECACAD}"/>
          </ac:grpSpMkLst>
        </pc:grpChg>
        <pc:grpChg chg="add 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79" creationId="{BF4304CD-3353-4185-AF39-56D92EF67284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80" creationId="{3F7390AD-7BD8-48BC-98BE-B14D89E1C2BC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01" creationId="{E0C505AD-BD53-4879-9EC0-0CD427BBC800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08" creationId="{696DE069-5B83-4F8A-BA00-5AD92257C709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18" creationId="{3CE687B1-8CBB-48BA-86DD-013FD78C49FC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24" creationId="{CD59E2B2-E975-4C63-A35F-7389E4C30E88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27" creationId="{B0A315DC-5256-4C72-809A-90240584BA3B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30" creationId="{3F257D59-FA5E-4209-BFD8-3BE8298D1A5B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46" creationId="{901F5639-958E-48F1-A4F9-F80881FA6141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49" creationId="{61C50100-1578-46E2-AC90-A684DAC1A481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52" creationId="{823CCBCF-3F62-4D25-BA68-FAFBF0EA2807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68" creationId="{2BECE68B-F5AF-480B-B09B-78DA7672D4F2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74" creationId="{293B89F5-34F9-48BD-A800-A407A66C3240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79" creationId="{8223F9EE-82B6-4BA5-954C-1DE370D45B4E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82" creationId="{DF61603C-0EED-45C5-A8AF-A397D5AE01F9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85" creationId="{DF490394-C560-432A-990F-15C8CBC94F16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91" creationId="{2B060571-ABCF-43BD-9A65-0683EE2E22C8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194" creationId="{39C2EC41-15DF-48FD-84AD-3269149599EF}"/>
          </ac:grpSpMkLst>
        </pc:grpChg>
        <pc:grpChg chg="mod">
          <ac:chgData name="Clark, Connie" userId="73351e60-ad32-4085-a232-1d9f9b189479" providerId="ADAL" clId="{1712031B-0999-404D-92BA-B97253215D59}" dt="2021-02-05T04:10:32.293" v="253" actId="1037"/>
          <ac:grpSpMkLst>
            <pc:docMk/>
            <pc:sldMk cId="665348256" sldId="1267"/>
            <ac:grpSpMk id="200" creationId="{43CCF50E-D09E-4D6D-9CF7-9B7BE0E8C914}"/>
          </ac:grpSpMkLst>
        </pc:grpChg>
        <pc:picChg chg="del">
          <ac:chgData name="Clark, Connie" userId="73351e60-ad32-4085-a232-1d9f9b189479" providerId="ADAL" clId="{1712031B-0999-404D-92BA-B97253215D59}" dt="2021-02-05T04:13:15.061" v="332" actId="478"/>
          <ac:picMkLst>
            <pc:docMk/>
            <pc:sldMk cId="665348256" sldId="1267"/>
            <ac:picMk id="26" creationId="{7E0E4C20-FC7F-4222-AC1B-84477AF1B3AD}"/>
          </ac:picMkLst>
        </pc:picChg>
      </pc:sldChg>
      <pc:sldChg chg="add del">
        <pc:chgData name="Clark, Connie" userId="73351e60-ad32-4085-a232-1d9f9b189479" providerId="ADAL" clId="{1712031B-0999-404D-92BA-B97253215D59}" dt="2021-02-05T04:05:30.578" v="3" actId="47"/>
        <pc:sldMkLst>
          <pc:docMk/>
          <pc:sldMk cId="80697657" sldId="1270"/>
        </pc:sldMkLst>
      </pc:sldChg>
      <pc:sldChg chg="modSp mod">
        <pc:chgData name="Clark, Connie" userId="73351e60-ad32-4085-a232-1d9f9b189479" providerId="ADAL" clId="{1712031B-0999-404D-92BA-B97253215D59}" dt="2021-02-11T22:06:00.510" v="685" actId="20577"/>
        <pc:sldMkLst>
          <pc:docMk/>
          <pc:sldMk cId="378968893" sldId="1272"/>
        </pc:sldMkLst>
        <pc:spChg chg="mod">
          <ac:chgData name="Clark, Connie" userId="73351e60-ad32-4085-a232-1d9f9b189479" providerId="ADAL" clId="{1712031B-0999-404D-92BA-B97253215D59}" dt="2021-02-11T22:06:00.510" v="685" actId="20577"/>
          <ac:spMkLst>
            <pc:docMk/>
            <pc:sldMk cId="378968893" sldId="1272"/>
            <ac:spMk id="6" creationId="{DB622F97-FBE5-49FC-96CD-9742FBF5C345}"/>
          </ac:spMkLst>
        </pc:spChg>
      </pc:sldChg>
      <pc:sldChg chg="add del">
        <pc:chgData name="Clark, Connie" userId="73351e60-ad32-4085-a232-1d9f9b189479" providerId="ADAL" clId="{1712031B-0999-404D-92BA-B97253215D59}" dt="2021-02-08T18:32:31.775" v="443" actId="47"/>
        <pc:sldMkLst>
          <pc:docMk/>
          <pc:sldMk cId="683810705" sldId="1273"/>
        </pc:sldMkLst>
      </pc:sldChg>
      <pc:sldChg chg="add del">
        <pc:chgData name="Clark, Connie" userId="73351e60-ad32-4085-a232-1d9f9b189479" providerId="ADAL" clId="{1712031B-0999-404D-92BA-B97253215D59}" dt="2021-02-08T14:32:11.022" v="441"/>
        <pc:sldMkLst>
          <pc:docMk/>
          <pc:sldMk cId="2478686663" sldId="1273"/>
        </pc:sldMkLst>
      </pc:sldChg>
      <pc:sldChg chg="addSp delSp modSp add mod">
        <pc:chgData name="Clark, Connie" userId="73351e60-ad32-4085-a232-1d9f9b189479" providerId="ADAL" clId="{1712031B-0999-404D-92BA-B97253215D59}" dt="2021-02-11T22:18:37.260" v="893" actId="1076"/>
        <pc:sldMkLst>
          <pc:docMk/>
          <pc:sldMk cId="3270792525" sldId="1273"/>
        </pc:sldMkLst>
        <pc:spChg chg="mod">
          <ac:chgData name="Clark, Connie" userId="73351e60-ad32-4085-a232-1d9f9b189479" providerId="ADAL" clId="{1712031B-0999-404D-92BA-B97253215D59}" dt="2021-02-11T22:03:47.502" v="618" actId="20577"/>
          <ac:spMkLst>
            <pc:docMk/>
            <pc:sldMk cId="3270792525" sldId="1273"/>
            <ac:spMk id="6" creationId="{DB622F97-FBE5-49FC-96CD-9742FBF5C345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11" creationId="{9B70936B-8BEC-4D08-97E9-B9CBDB4873B3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24" creationId="{EDADF830-9B4C-4264-995D-F13D54C9E002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25" creationId="{E006E81D-BEE9-4304-9D8B-98DC83ACD666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26" creationId="{45A45246-9C2D-4BD9-9B39-E9F84D8BC61E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27" creationId="{23F1CC98-D9BD-4C9D-913D-9B96C5F6009F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28" creationId="{63A0EA45-F4ED-44A9-83AF-58A6E208ABEF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29" creationId="{E757E299-6E9A-4E8B-A053-1888832B27A9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30" creationId="{05F2657D-203E-49E7-AE12-8089F9597839}"/>
          </ac:spMkLst>
        </pc:spChg>
        <pc:spChg chg="add del mod">
          <ac:chgData name="Clark, Connie" userId="73351e60-ad32-4085-a232-1d9f9b189479" providerId="ADAL" clId="{1712031B-0999-404D-92BA-B97253215D59}" dt="2021-02-11T21:35:48.406" v="472"/>
          <ac:spMkLst>
            <pc:docMk/>
            <pc:sldMk cId="3270792525" sldId="1273"/>
            <ac:spMk id="32" creationId="{AE66965A-7E10-4850-9E09-8CD104661BB6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37" creationId="{1D04E0DC-37A0-458A-8D4E-F04593799475}"/>
          </ac:spMkLst>
        </pc:spChg>
        <pc:spChg chg="add del mod">
          <ac:chgData name="Clark, Connie" userId="73351e60-ad32-4085-a232-1d9f9b189479" providerId="ADAL" clId="{1712031B-0999-404D-92BA-B97253215D59}" dt="2021-02-11T21:35:48.406" v="472"/>
          <ac:spMkLst>
            <pc:docMk/>
            <pc:sldMk cId="3270792525" sldId="1273"/>
            <ac:spMk id="38" creationId="{E63A5EDB-E0F9-4E9D-858D-91F11ECBBAD1}"/>
          </ac:spMkLst>
        </pc:spChg>
        <pc:spChg chg="add del mod">
          <ac:chgData name="Clark, Connie" userId="73351e60-ad32-4085-a232-1d9f9b189479" providerId="ADAL" clId="{1712031B-0999-404D-92BA-B97253215D59}" dt="2021-02-11T21:35:48.406" v="472"/>
          <ac:spMkLst>
            <pc:docMk/>
            <pc:sldMk cId="3270792525" sldId="1273"/>
            <ac:spMk id="39" creationId="{96A84D42-09EB-4CE4-A507-D0085AB94DA7}"/>
          </ac:spMkLst>
        </pc:spChg>
        <pc:spChg chg="add del mod">
          <ac:chgData name="Clark, Connie" userId="73351e60-ad32-4085-a232-1d9f9b189479" providerId="ADAL" clId="{1712031B-0999-404D-92BA-B97253215D59}" dt="2021-02-11T21:35:48.406" v="472"/>
          <ac:spMkLst>
            <pc:docMk/>
            <pc:sldMk cId="3270792525" sldId="1273"/>
            <ac:spMk id="41" creationId="{4385B5D5-B181-4992-BA52-5F664592F32A}"/>
          </ac:spMkLst>
        </pc:spChg>
        <pc:spChg chg="mod">
          <ac:chgData name="Clark, Connie" userId="73351e60-ad32-4085-a232-1d9f9b189479" providerId="ADAL" clId="{1712031B-0999-404D-92BA-B97253215D59}" dt="2021-02-11T21:35:40.505" v="450"/>
          <ac:spMkLst>
            <pc:docMk/>
            <pc:sldMk cId="3270792525" sldId="1273"/>
            <ac:spMk id="45" creationId="{832317E2-AA81-46CE-91BF-EFB4407CB014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48" creationId="{88617A23-7721-481A-99ED-367A8B4C3099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49" creationId="{FACD262C-7F2D-42C6-B099-358EFB4B11B8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50" creationId="{3E16E770-B90C-43D1-BE1D-10BCFE797FA0}"/>
          </ac:spMkLst>
        </pc:spChg>
        <pc:spChg chg="del">
          <ac:chgData name="Clark, Connie" userId="73351e60-ad32-4085-a232-1d9f9b189479" providerId="ADAL" clId="{1712031B-0999-404D-92BA-B97253215D59}" dt="2021-02-11T21:34:28.690" v="447" actId="478"/>
          <ac:spMkLst>
            <pc:docMk/>
            <pc:sldMk cId="3270792525" sldId="1273"/>
            <ac:spMk id="51" creationId="{2D687016-CEC1-4865-AAEE-E7001C594803}"/>
          </ac:spMkLst>
        </pc:spChg>
        <pc:spChg chg="mod">
          <ac:chgData name="Clark, Connie" userId="73351e60-ad32-4085-a232-1d9f9b189479" providerId="ADAL" clId="{1712031B-0999-404D-92BA-B97253215D59}" dt="2021-02-11T21:35:40.505" v="450"/>
          <ac:spMkLst>
            <pc:docMk/>
            <pc:sldMk cId="3270792525" sldId="1273"/>
            <ac:spMk id="56" creationId="{402712E1-B6EA-443B-8B1C-A511BC8087C4}"/>
          </ac:spMkLst>
        </pc:spChg>
        <pc:spChg chg="mod">
          <ac:chgData name="Clark, Connie" userId="73351e60-ad32-4085-a232-1d9f9b189479" providerId="ADAL" clId="{1712031B-0999-404D-92BA-B97253215D59}" dt="2021-02-11T21:35:40.505" v="450"/>
          <ac:spMkLst>
            <pc:docMk/>
            <pc:sldMk cId="3270792525" sldId="1273"/>
            <ac:spMk id="57" creationId="{96DAC16D-A3B0-4BBA-929A-EE2DE5107AE1}"/>
          </ac:spMkLst>
        </pc:spChg>
        <pc:spChg chg="mod">
          <ac:chgData name="Clark, Connie" userId="73351e60-ad32-4085-a232-1d9f9b189479" providerId="ADAL" clId="{1712031B-0999-404D-92BA-B97253215D59}" dt="2021-02-11T21:35:40.505" v="450"/>
          <ac:spMkLst>
            <pc:docMk/>
            <pc:sldMk cId="3270792525" sldId="1273"/>
            <ac:spMk id="58" creationId="{4EB5F666-838F-440F-A14E-0D4461C18BCD}"/>
          </ac:spMkLst>
        </pc:spChg>
        <pc:spChg chg="mod">
          <ac:chgData name="Clark, Connie" userId="73351e60-ad32-4085-a232-1d9f9b189479" providerId="ADAL" clId="{1712031B-0999-404D-92BA-B97253215D59}" dt="2021-02-11T21:35:40.505" v="450"/>
          <ac:spMkLst>
            <pc:docMk/>
            <pc:sldMk cId="3270792525" sldId="1273"/>
            <ac:spMk id="59" creationId="{1CDCA09E-220A-4658-9F33-B2E61698FA0C}"/>
          </ac:spMkLst>
        </pc:spChg>
        <pc:spChg chg="mod">
          <ac:chgData name="Clark, Connie" userId="73351e60-ad32-4085-a232-1d9f9b189479" providerId="ADAL" clId="{1712031B-0999-404D-92BA-B97253215D59}" dt="2021-02-11T21:35:40.505" v="450"/>
          <ac:spMkLst>
            <pc:docMk/>
            <pc:sldMk cId="3270792525" sldId="1273"/>
            <ac:spMk id="60" creationId="{F6E40E10-44FF-47F6-A5A0-C68C975A6348}"/>
          </ac:spMkLst>
        </pc:spChg>
        <pc:spChg chg="mod">
          <ac:chgData name="Clark, Connie" userId="73351e60-ad32-4085-a232-1d9f9b189479" providerId="ADAL" clId="{1712031B-0999-404D-92BA-B97253215D59}" dt="2021-02-11T21:35:40.505" v="450"/>
          <ac:spMkLst>
            <pc:docMk/>
            <pc:sldMk cId="3270792525" sldId="1273"/>
            <ac:spMk id="68" creationId="{435D8D51-CCB1-4D37-8E01-4443BB975580}"/>
          </ac:spMkLst>
        </pc:spChg>
        <pc:spChg chg="mod">
          <ac:chgData name="Clark, Connie" userId="73351e60-ad32-4085-a232-1d9f9b189479" providerId="ADAL" clId="{1712031B-0999-404D-92BA-B97253215D59}" dt="2021-02-11T21:35:40.505" v="450"/>
          <ac:spMkLst>
            <pc:docMk/>
            <pc:sldMk cId="3270792525" sldId="1273"/>
            <ac:spMk id="72" creationId="{7507A18E-9FE5-4717-BF5F-07740CE427B3}"/>
          </ac:spMkLst>
        </pc:spChg>
        <pc:spChg chg="add del mod">
          <ac:chgData name="Clark, Connie" userId="73351e60-ad32-4085-a232-1d9f9b189479" providerId="ADAL" clId="{1712031B-0999-404D-92BA-B97253215D59}" dt="2021-02-11T21:36:12.020" v="476"/>
          <ac:spMkLst>
            <pc:docMk/>
            <pc:sldMk cId="3270792525" sldId="1273"/>
            <ac:spMk id="74" creationId="{7BB73DDF-1167-4DD3-8EDE-3728524CDF53}"/>
          </ac:spMkLst>
        </pc:spChg>
        <pc:spChg chg="add del mod">
          <ac:chgData name="Clark, Connie" userId="73351e60-ad32-4085-a232-1d9f9b189479" providerId="ADAL" clId="{1712031B-0999-404D-92BA-B97253215D59}" dt="2021-02-11T21:36:12.020" v="476"/>
          <ac:spMkLst>
            <pc:docMk/>
            <pc:sldMk cId="3270792525" sldId="1273"/>
            <ac:spMk id="75" creationId="{F5A0A3CD-06F8-4FF0-B2FA-72CDE10F5E72}"/>
          </ac:spMkLst>
        </pc:spChg>
        <pc:spChg chg="add del mod">
          <ac:chgData name="Clark, Connie" userId="73351e60-ad32-4085-a232-1d9f9b189479" providerId="ADAL" clId="{1712031B-0999-404D-92BA-B97253215D59}" dt="2021-02-11T21:36:12.020" v="476"/>
          <ac:spMkLst>
            <pc:docMk/>
            <pc:sldMk cId="3270792525" sldId="1273"/>
            <ac:spMk id="76" creationId="{0F9FF87E-916C-486C-A8C1-994B44F895DA}"/>
          </ac:spMkLst>
        </pc:spChg>
        <pc:spChg chg="add del mod">
          <ac:chgData name="Clark, Connie" userId="73351e60-ad32-4085-a232-1d9f9b189479" providerId="ADAL" clId="{1712031B-0999-404D-92BA-B97253215D59}" dt="2021-02-11T21:36:12.020" v="476"/>
          <ac:spMkLst>
            <pc:docMk/>
            <pc:sldMk cId="3270792525" sldId="1273"/>
            <ac:spMk id="77" creationId="{A96D4068-9CE8-4F1B-8746-4EBC358FDDBE}"/>
          </ac:spMkLst>
        </pc:spChg>
        <pc:spChg chg="mod">
          <ac:chgData name="Clark, Connie" userId="73351e60-ad32-4085-a232-1d9f9b189479" providerId="ADAL" clId="{1712031B-0999-404D-92BA-B97253215D59}" dt="2021-02-11T21:36:05.733" v="473"/>
          <ac:spMkLst>
            <pc:docMk/>
            <pc:sldMk cId="3270792525" sldId="1273"/>
            <ac:spMk id="79" creationId="{7C65EC86-C275-4F05-9624-EB702D962D2A}"/>
          </ac:spMkLst>
        </pc:spChg>
        <pc:spChg chg="mod">
          <ac:chgData name="Clark, Connie" userId="73351e60-ad32-4085-a232-1d9f9b189479" providerId="ADAL" clId="{1712031B-0999-404D-92BA-B97253215D59}" dt="2021-02-11T21:36:05.733" v="473"/>
          <ac:spMkLst>
            <pc:docMk/>
            <pc:sldMk cId="3270792525" sldId="1273"/>
            <ac:spMk id="86" creationId="{42C175CC-B6D8-4D32-8D1C-E0DE87B6A0B7}"/>
          </ac:spMkLst>
        </pc:spChg>
        <pc:spChg chg="mod">
          <ac:chgData name="Clark, Connie" userId="73351e60-ad32-4085-a232-1d9f9b189479" providerId="ADAL" clId="{1712031B-0999-404D-92BA-B97253215D59}" dt="2021-02-11T21:36:05.733" v="473"/>
          <ac:spMkLst>
            <pc:docMk/>
            <pc:sldMk cId="3270792525" sldId="1273"/>
            <ac:spMk id="87" creationId="{4722A03E-EA9B-4FA7-9309-914461CB481A}"/>
          </ac:spMkLst>
        </pc:spChg>
        <pc:spChg chg="mod">
          <ac:chgData name="Clark, Connie" userId="73351e60-ad32-4085-a232-1d9f9b189479" providerId="ADAL" clId="{1712031B-0999-404D-92BA-B97253215D59}" dt="2021-02-11T21:36:05.733" v="473"/>
          <ac:spMkLst>
            <pc:docMk/>
            <pc:sldMk cId="3270792525" sldId="1273"/>
            <ac:spMk id="88" creationId="{881CB9D7-AAAA-4F85-8B59-389215923335}"/>
          </ac:spMkLst>
        </pc:spChg>
        <pc:spChg chg="mod">
          <ac:chgData name="Clark, Connie" userId="73351e60-ad32-4085-a232-1d9f9b189479" providerId="ADAL" clId="{1712031B-0999-404D-92BA-B97253215D59}" dt="2021-02-11T21:36:05.733" v="473"/>
          <ac:spMkLst>
            <pc:docMk/>
            <pc:sldMk cId="3270792525" sldId="1273"/>
            <ac:spMk id="89" creationId="{500A1FA1-7C80-4DE3-BAA5-E88E5FFE6D6F}"/>
          </ac:spMkLst>
        </pc:spChg>
        <pc:spChg chg="mod">
          <ac:chgData name="Clark, Connie" userId="73351e60-ad32-4085-a232-1d9f9b189479" providerId="ADAL" clId="{1712031B-0999-404D-92BA-B97253215D59}" dt="2021-02-11T21:36:05.733" v="473"/>
          <ac:spMkLst>
            <pc:docMk/>
            <pc:sldMk cId="3270792525" sldId="1273"/>
            <ac:spMk id="90" creationId="{6B268F85-BB4B-478A-BA2D-D3F5CC61864A}"/>
          </ac:spMkLst>
        </pc:spChg>
        <pc:spChg chg="mod">
          <ac:chgData name="Clark, Connie" userId="73351e60-ad32-4085-a232-1d9f9b189479" providerId="ADAL" clId="{1712031B-0999-404D-92BA-B97253215D59}" dt="2021-02-11T21:36:05.733" v="473"/>
          <ac:spMkLst>
            <pc:docMk/>
            <pc:sldMk cId="3270792525" sldId="1273"/>
            <ac:spMk id="98" creationId="{C70D20A7-F791-4178-97BA-60CED8150D2F}"/>
          </ac:spMkLst>
        </pc:spChg>
        <pc:spChg chg="mod">
          <ac:chgData name="Clark, Connie" userId="73351e60-ad32-4085-a232-1d9f9b189479" providerId="ADAL" clId="{1712031B-0999-404D-92BA-B97253215D59}" dt="2021-02-11T21:36:05.733" v="473"/>
          <ac:spMkLst>
            <pc:docMk/>
            <pc:sldMk cId="3270792525" sldId="1273"/>
            <ac:spMk id="102" creationId="{0C4D41F3-5237-4950-BE1F-CF7DA383081E}"/>
          </ac:spMkLst>
        </pc:spChg>
        <pc:spChg chg="add del mod">
          <ac:chgData name="Clark, Connie" userId="73351e60-ad32-4085-a232-1d9f9b189479" providerId="ADAL" clId="{1712031B-0999-404D-92BA-B97253215D59}" dt="2021-02-11T22:02:13.251" v="584" actId="478"/>
          <ac:spMkLst>
            <pc:docMk/>
            <pc:sldMk cId="3270792525" sldId="1273"/>
            <ac:spMk id="104" creationId="{2A22F5C8-64B6-464E-8301-F3F875109054}"/>
          </ac:spMkLst>
        </pc:spChg>
        <pc:spChg chg="add del mod">
          <ac:chgData name="Clark, Connie" userId="73351e60-ad32-4085-a232-1d9f9b189479" providerId="ADAL" clId="{1712031B-0999-404D-92BA-B97253215D59}" dt="2021-02-11T22:02:13.251" v="584" actId="478"/>
          <ac:spMkLst>
            <pc:docMk/>
            <pc:sldMk cId="3270792525" sldId="1273"/>
            <ac:spMk id="105" creationId="{6AEDFB69-7529-4EB3-B32C-B2682B6A8A44}"/>
          </ac:spMkLst>
        </pc:spChg>
        <pc:spChg chg="add del mod">
          <ac:chgData name="Clark, Connie" userId="73351e60-ad32-4085-a232-1d9f9b189479" providerId="ADAL" clId="{1712031B-0999-404D-92BA-B97253215D59}" dt="2021-02-11T22:02:13.251" v="584" actId="478"/>
          <ac:spMkLst>
            <pc:docMk/>
            <pc:sldMk cId="3270792525" sldId="1273"/>
            <ac:spMk id="106" creationId="{872497A2-4FF8-4057-A19A-BA97FC07C66C}"/>
          </ac:spMkLst>
        </pc:spChg>
        <pc:spChg chg="add del mod">
          <ac:chgData name="Clark, Connie" userId="73351e60-ad32-4085-a232-1d9f9b189479" providerId="ADAL" clId="{1712031B-0999-404D-92BA-B97253215D59}" dt="2021-02-11T22:02:13.251" v="584" actId="478"/>
          <ac:spMkLst>
            <pc:docMk/>
            <pc:sldMk cId="3270792525" sldId="1273"/>
            <ac:spMk id="107" creationId="{0AD3B502-B765-4D75-BEBB-B97C990721FF}"/>
          </ac:spMkLst>
        </pc:spChg>
        <pc:spChg chg="mod">
          <ac:chgData name="Clark, Connie" userId="73351e60-ad32-4085-a232-1d9f9b189479" providerId="ADAL" clId="{1712031B-0999-404D-92BA-B97253215D59}" dt="2021-02-11T21:36:12.036" v="477"/>
          <ac:spMkLst>
            <pc:docMk/>
            <pc:sldMk cId="3270792525" sldId="1273"/>
            <ac:spMk id="109" creationId="{CD9C0A7C-D035-40B6-B909-F70A65186905}"/>
          </ac:spMkLst>
        </pc:spChg>
        <pc:spChg chg="mod">
          <ac:chgData name="Clark, Connie" userId="73351e60-ad32-4085-a232-1d9f9b189479" providerId="ADAL" clId="{1712031B-0999-404D-92BA-B97253215D59}" dt="2021-02-11T21:36:12.036" v="477"/>
          <ac:spMkLst>
            <pc:docMk/>
            <pc:sldMk cId="3270792525" sldId="1273"/>
            <ac:spMk id="116" creationId="{BD7349FC-B2E6-4815-914A-1DDF2A2D5E13}"/>
          </ac:spMkLst>
        </pc:spChg>
        <pc:spChg chg="mod">
          <ac:chgData name="Clark, Connie" userId="73351e60-ad32-4085-a232-1d9f9b189479" providerId="ADAL" clId="{1712031B-0999-404D-92BA-B97253215D59}" dt="2021-02-11T21:36:12.036" v="477"/>
          <ac:spMkLst>
            <pc:docMk/>
            <pc:sldMk cId="3270792525" sldId="1273"/>
            <ac:spMk id="117" creationId="{747B8750-75B7-4B01-8C54-87F215672976}"/>
          </ac:spMkLst>
        </pc:spChg>
        <pc:spChg chg="mod">
          <ac:chgData name="Clark, Connie" userId="73351e60-ad32-4085-a232-1d9f9b189479" providerId="ADAL" clId="{1712031B-0999-404D-92BA-B97253215D59}" dt="2021-02-11T21:36:12.036" v="477"/>
          <ac:spMkLst>
            <pc:docMk/>
            <pc:sldMk cId="3270792525" sldId="1273"/>
            <ac:spMk id="118" creationId="{E90A4BFA-1620-419D-A432-F3881FA04C98}"/>
          </ac:spMkLst>
        </pc:spChg>
        <pc:spChg chg="mod">
          <ac:chgData name="Clark, Connie" userId="73351e60-ad32-4085-a232-1d9f9b189479" providerId="ADAL" clId="{1712031B-0999-404D-92BA-B97253215D59}" dt="2021-02-11T21:36:12.036" v="477"/>
          <ac:spMkLst>
            <pc:docMk/>
            <pc:sldMk cId="3270792525" sldId="1273"/>
            <ac:spMk id="119" creationId="{31BB2190-38A9-4447-874C-9C1F2E6A81E0}"/>
          </ac:spMkLst>
        </pc:spChg>
        <pc:spChg chg="mod">
          <ac:chgData name="Clark, Connie" userId="73351e60-ad32-4085-a232-1d9f9b189479" providerId="ADAL" clId="{1712031B-0999-404D-92BA-B97253215D59}" dt="2021-02-11T21:36:12.036" v="477"/>
          <ac:spMkLst>
            <pc:docMk/>
            <pc:sldMk cId="3270792525" sldId="1273"/>
            <ac:spMk id="120" creationId="{8053D0C4-AFE8-48FA-B6F5-91D77B002DDC}"/>
          </ac:spMkLst>
        </pc:spChg>
        <pc:spChg chg="mod">
          <ac:chgData name="Clark, Connie" userId="73351e60-ad32-4085-a232-1d9f9b189479" providerId="ADAL" clId="{1712031B-0999-404D-92BA-B97253215D59}" dt="2021-02-11T21:36:12.036" v="477"/>
          <ac:spMkLst>
            <pc:docMk/>
            <pc:sldMk cId="3270792525" sldId="1273"/>
            <ac:spMk id="128" creationId="{7214C7BF-D860-4238-8CB8-88164CBB7C8A}"/>
          </ac:spMkLst>
        </pc:spChg>
        <pc:spChg chg="mod">
          <ac:chgData name="Clark, Connie" userId="73351e60-ad32-4085-a232-1d9f9b189479" providerId="ADAL" clId="{1712031B-0999-404D-92BA-B97253215D59}" dt="2021-02-11T21:36:12.036" v="477"/>
          <ac:spMkLst>
            <pc:docMk/>
            <pc:sldMk cId="3270792525" sldId="1273"/>
            <ac:spMk id="132" creationId="{F8765EDE-911E-4FD6-AC13-61793A0725BB}"/>
          </ac:spMkLst>
        </pc:spChg>
        <pc:spChg chg="mod">
          <ac:chgData name="Clark, Connie" userId="73351e60-ad32-4085-a232-1d9f9b189479" providerId="ADAL" clId="{1712031B-0999-404D-92BA-B97253215D59}" dt="2021-02-11T21:36:56.583" v="504"/>
          <ac:spMkLst>
            <pc:docMk/>
            <pc:sldMk cId="3270792525" sldId="1273"/>
            <ac:spMk id="137" creationId="{D5EAA28F-74BD-4C1F-88AF-6F1927F96CA3}"/>
          </ac:spMkLst>
        </pc:spChg>
        <pc:spChg chg="mod">
          <ac:chgData name="Clark, Connie" userId="73351e60-ad32-4085-a232-1d9f9b189479" providerId="ADAL" clId="{1712031B-0999-404D-92BA-B97253215D59}" dt="2021-02-11T21:36:56.583" v="504"/>
          <ac:spMkLst>
            <pc:docMk/>
            <pc:sldMk cId="3270792525" sldId="1273"/>
            <ac:spMk id="138" creationId="{F91D88F4-34FE-4DC6-8D75-8CC0637B015F}"/>
          </ac:spMkLst>
        </pc:spChg>
        <pc:spChg chg="add mod">
          <ac:chgData name="Clark, Connie" userId="73351e60-ad32-4085-a232-1d9f9b189479" providerId="ADAL" clId="{1712031B-0999-404D-92BA-B97253215D59}" dt="2021-02-11T22:02:33.492" v="606" actId="1036"/>
          <ac:spMkLst>
            <pc:docMk/>
            <pc:sldMk cId="3270792525" sldId="1273"/>
            <ac:spMk id="141" creationId="{E8B1A8D1-76C6-40F2-A5FB-73647D9B26A7}"/>
          </ac:spMkLst>
        </pc:spChg>
        <pc:spChg chg="add mod">
          <ac:chgData name="Clark, Connie" userId="73351e60-ad32-4085-a232-1d9f9b189479" providerId="ADAL" clId="{1712031B-0999-404D-92BA-B97253215D59}" dt="2021-02-11T22:02:33.492" v="606" actId="1036"/>
          <ac:spMkLst>
            <pc:docMk/>
            <pc:sldMk cId="3270792525" sldId="1273"/>
            <ac:spMk id="142" creationId="{E27ECD3B-C964-4004-ABAD-7D091A0A1A80}"/>
          </ac:spMkLst>
        </pc:spChg>
        <pc:spChg chg="add mod">
          <ac:chgData name="Clark, Connie" userId="73351e60-ad32-4085-a232-1d9f9b189479" providerId="ADAL" clId="{1712031B-0999-404D-92BA-B97253215D59}" dt="2021-02-11T22:02:33.492" v="606" actId="1036"/>
          <ac:spMkLst>
            <pc:docMk/>
            <pc:sldMk cId="3270792525" sldId="1273"/>
            <ac:spMk id="143" creationId="{73D15843-9E12-4B59-8ED6-980AE9379B84}"/>
          </ac:spMkLst>
        </pc:spChg>
        <pc:spChg chg="add mod">
          <ac:chgData name="Clark, Connie" userId="73351e60-ad32-4085-a232-1d9f9b189479" providerId="ADAL" clId="{1712031B-0999-404D-92BA-B97253215D59}" dt="2021-02-11T22:02:33.492" v="606" actId="1036"/>
          <ac:spMkLst>
            <pc:docMk/>
            <pc:sldMk cId="3270792525" sldId="1273"/>
            <ac:spMk id="144" creationId="{2544C3A7-E662-4221-9BA6-906DC82A50AA}"/>
          </ac:spMkLst>
        </pc:spChg>
        <pc:spChg chg="add mod">
          <ac:chgData name="Clark, Connie" userId="73351e60-ad32-4085-a232-1d9f9b189479" providerId="ADAL" clId="{1712031B-0999-404D-92BA-B97253215D59}" dt="2021-02-11T22:02:33.492" v="606" actId="1036"/>
          <ac:spMkLst>
            <pc:docMk/>
            <pc:sldMk cId="3270792525" sldId="1273"/>
            <ac:spMk id="145" creationId="{FAA2F1FB-3B93-497D-B5FC-D3992562344A}"/>
          </ac:spMkLst>
        </pc:spChg>
        <pc:spChg chg="mod">
          <ac:chgData name="Clark, Connie" userId="73351e60-ad32-4085-a232-1d9f9b189479" providerId="ADAL" clId="{1712031B-0999-404D-92BA-B97253215D59}" dt="2021-02-11T22:12:42.216" v="823"/>
          <ac:spMkLst>
            <pc:docMk/>
            <pc:sldMk cId="3270792525" sldId="1273"/>
            <ac:spMk id="147" creationId="{9E4FF875-23C6-4FDF-8E53-451C3555117E}"/>
          </ac:spMkLst>
        </pc:spChg>
        <pc:spChg chg="mod">
          <ac:chgData name="Clark, Connie" userId="73351e60-ad32-4085-a232-1d9f9b189479" providerId="ADAL" clId="{1712031B-0999-404D-92BA-B97253215D59}" dt="2021-02-11T22:12:42.216" v="823"/>
          <ac:spMkLst>
            <pc:docMk/>
            <pc:sldMk cId="3270792525" sldId="1273"/>
            <ac:spMk id="154" creationId="{5056ED7E-8F52-474A-808B-F62FE1696B94}"/>
          </ac:spMkLst>
        </pc:spChg>
        <pc:spChg chg="mod">
          <ac:chgData name="Clark, Connie" userId="73351e60-ad32-4085-a232-1d9f9b189479" providerId="ADAL" clId="{1712031B-0999-404D-92BA-B97253215D59}" dt="2021-02-11T22:12:42.216" v="823"/>
          <ac:spMkLst>
            <pc:docMk/>
            <pc:sldMk cId="3270792525" sldId="1273"/>
            <ac:spMk id="155" creationId="{85C6CC0C-345A-4B8B-BF6F-2DCEFD390628}"/>
          </ac:spMkLst>
        </pc:spChg>
        <pc:spChg chg="mod">
          <ac:chgData name="Clark, Connie" userId="73351e60-ad32-4085-a232-1d9f9b189479" providerId="ADAL" clId="{1712031B-0999-404D-92BA-B97253215D59}" dt="2021-02-11T22:12:42.216" v="823"/>
          <ac:spMkLst>
            <pc:docMk/>
            <pc:sldMk cId="3270792525" sldId="1273"/>
            <ac:spMk id="156" creationId="{EFD9B6F8-7409-46EC-B47B-6DFD597828AE}"/>
          </ac:spMkLst>
        </pc:spChg>
        <pc:spChg chg="mod">
          <ac:chgData name="Clark, Connie" userId="73351e60-ad32-4085-a232-1d9f9b189479" providerId="ADAL" clId="{1712031B-0999-404D-92BA-B97253215D59}" dt="2021-02-11T22:12:48.947" v="829" actId="20577"/>
          <ac:spMkLst>
            <pc:docMk/>
            <pc:sldMk cId="3270792525" sldId="1273"/>
            <ac:spMk id="157" creationId="{0CEBC3DF-7DCD-4457-9E70-BE268CA2AF68}"/>
          </ac:spMkLst>
        </pc:spChg>
        <pc:spChg chg="mod">
          <ac:chgData name="Clark, Connie" userId="73351e60-ad32-4085-a232-1d9f9b189479" providerId="ADAL" clId="{1712031B-0999-404D-92BA-B97253215D59}" dt="2021-02-11T22:12:58.101" v="840" actId="20577"/>
          <ac:spMkLst>
            <pc:docMk/>
            <pc:sldMk cId="3270792525" sldId="1273"/>
            <ac:spMk id="158" creationId="{E66F73D2-90CD-4C4D-999B-52060E620A53}"/>
          </ac:spMkLst>
        </pc:spChg>
        <pc:spChg chg="mod">
          <ac:chgData name="Clark, Connie" userId="73351e60-ad32-4085-a232-1d9f9b189479" providerId="ADAL" clId="{1712031B-0999-404D-92BA-B97253215D59}" dt="2021-02-11T22:13:33.057" v="843"/>
          <ac:spMkLst>
            <pc:docMk/>
            <pc:sldMk cId="3270792525" sldId="1273"/>
            <ac:spMk id="166" creationId="{60CDA162-DF58-4D72-A8F3-502645E26169}"/>
          </ac:spMkLst>
        </pc:spChg>
        <pc:spChg chg="mod">
          <ac:chgData name="Clark, Connie" userId="73351e60-ad32-4085-a232-1d9f9b189479" providerId="ADAL" clId="{1712031B-0999-404D-92BA-B97253215D59}" dt="2021-02-11T22:14:05.562" v="853" actId="1076"/>
          <ac:spMkLst>
            <pc:docMk/>
            <pc:sldMk cId="3270792525" sldId="1273"/>
            <ac:spMk id="170" creationId="{D569B30F-5CB1-4CBE-8007-C7FF8B263F1A}"/>
          </ac:spMkLst>
        </pc:spChg>
        <pc:spChg chg="add mod">
          <ac:chgData name="Clark, Connie" userId="73351e60-ad32-4085-a232-1d9f9b189479" providerId="ADAL" clId="{1712031B-0999-404D-92BA-B97253215D59}" dt="2021-02-11T22:14:54.589" v="858" actId="20577"/>
          <ac:spMkLst>
            <pc:docMk/>
            <pc:sldMk cId="3270792525" sldId="1273"/>
            <ac:spMk id="174" creationId="{EAC68034-DDDB-4F19-AB40-953A4A44B1EB}"/>
          </ac:spMkLst>
        </pc:spChg>
        <pc:spChg chg="add mod">
          <ac:chgData name="Clark, Connie" userId="73351e60-ad32-4085-a232-1d9f9b189479" providerId="ADAL" clId="{1712031B-0999-404D-92BA-B97253215D59}" dt="2021-02-11T22:15:41.578" v="864" actId="20577"/>
          <ac:spMkLst>
            <pc:docMk/>
            <pc:sldMk cId="3270792525" sldId="1273"/>
            <ac:spMk id="175" creationId="{30BC8062-A169-40E5-BD2B-13994AD0F411}"/>
          </ac:spMkLst>
        </pc:spChg>
        <pc:spChg chg="mod">
          <ac:chgData name="Clark, Connie" userId="73351e60-ad32-4085-a232-1d9f9b189479" providerId="ADAL" clId="{1712031B-0999-404D-92BA-B97253215D59}" dt="2021-02-11T22:18:37.260" v="893" actId="1076"/>
          <ac:spMkLst>
            <pc:docMk/>
            <pc:sldMk cId="3270792525" sldId="1273"/>
            <ac:spMk id="180" creationId="{7F493AFB-B50A-47EA-8A35-89F0F00794F2}"/>
          </ac:spMkLst>
        </pc:spChg>
        <pc:spChg chg="del mod">
          <ac:chgData name="Clark, Connie" userId="73351e60-ad32-4085-a232-1d9f9b189479" providerId="ADAL" clId="{1712031B-0999-404D-92BA-B97253215D59}" dt="2021-02-11T22:18:31.210" v="892" actId="478"/>
          <ac:spMkLst>
            <pc:docMk/>
            <pc:sldMk cId="3270792525" sldId="1273"/>
            <ac:spMk id="182" creationId="{3E4B18AD-62B2-49DD-A3BB-D949492C56B4}"/>
          </ac:spMkLst>
        </pc:spChg>
        <pc:spChg chg="add mod">
          <ac:chgData name="Clark, Connie" userId="73351e60-ad32-4085-a232-1d9f9b189479" providerId="ADAL" clId="{1712031B-0999-404D-92BA-B97253215D59}" dt="2021-02-11T22:02:33.492" v="606" actId="1036"/>
          <ac:spMkLst>
            <pc:docMk/>
            <pc:sldMk cId="3270792525" sldId="1273"/>
            <ac:spMk id="184" creationId="{8DFCEB7E-2413-4FD7-834B-05BEC7544B53}"/>
          </ac:spMkLst>
        </pc:spChg>
        <pc:spChg chg="add mod">
          <ac:chgData name="Clark, Connie" userId="73351e60-ad32-4085-a232-1d9f9b189479" providerId="ADAL" clId="{1712031B-0999-404D-92BA-B97253215D59}" dt="2021-02-11T22:15:57.765" v="877" actId="20577"/>
          <ac:spMkLst>
            <pc:docMk/>
            <pc:sldMk cId="3270792525" sldId="1273"/>
            <ac:spMk id="187" creationId="{3A770922-4F7F-4292-8A9D-4FAB2B3D982D}"/>
          </ac:spMkLst>
        </pc:spChg>
        <pc:spChg chg="add mod">
          <ac:chgData name="Clark, Connie" userId="73351e60-ad32-4085-a232-1d9f9b189479" providerId="ADAL" clId="{1712031B-0999-404D-92BA-B97253215D59}" dt="2021-02-11T22:17:10.319" v="884" actId="20577"/>
          <ac:spMkLst>
            <pc:docMk/>
            <pc:sldMk cId="3270792525" sldId="1273"/>
            <ac:spMk id="188" creationId="{9E13032C-6E0B-4100-9085-3823E1CE276D}"/>
          </ac:spMkLst>
        </pc:spChg>
        <pc:spChg chg="add del mod">
          <ac:chgData name="Clark, Connie" userId="73351e60-ad32-4085-a232-1d9f9b189479" providerId="ADAL" clId="{1712031B-0999-404D-92BA-B97253215D59}" dt="2021-02-11T22:06:29.134" v="686" actId="478"/>
          <ac:spMkLst>
            <pc:docMk/>
            <pc:sldMk cId="3270792525" sldId="1273"/>
            <ac:spMk id="193" creationId="{9C7550E9-A4ED-4013-929F-1E194AAB7A70}"/>
          </ac:spMkLst>
        </pc:spChg>
        <pc:spChg chg="add del mod">
          <ac:chgData name="Clark, Connie" userId="73351e60-ad32-4085-a232-1d9f9b189479" providerId="ADAL" clId="{1712031B-0999-404D-92BA-B97253215D59}" dt="2021-02-11T22:06:29.134" v="686" actId="478"/>
          <ac:spMkLst>
            <pc:docMk/>
            <pc:sldMk cId="3270792525" sldId="1273"/>
            <ac:spMk id="195" creationId="{4FB2A5B7-1C4D-4827-8D62-B1EB384DA894}"/>
          </ac:spMkLst>
        </pc:spChg>
        <pc:spChg chg="add del mod">
          <ac:chgData name="Clark, Connie" userId="73351e60-ad32-4085-a232-1d9f9b189479" providerId="ADAL" clId="{1712031B-0999-404D-92BA-B97253215D59}" dt="2021-02-11T22:06:29.134" v="686" actId="478"/>
          <ac:spMkLst>
            <pc:docMk/>
            <pc:sldMk cId="3270792525" sldId="1273"/>
            <ac:spMk id="197" creationId="{5C066817-C063-42C9-A7AE-2CA24A9F3BCE}"/>
          </ac:spMkLst>
        </pc:spChg>
        <pc:spChg chg="add del mod">
          <ac:chgData name="Clark, Connie" userId="73351e60-ad32-4085-a232-1d9f9b189479" providerId="ADAL" clId="{1712031B-0999-404D-92BA-B97253215D59}" dt="2021-02-11T22:06:29.134" v="686" actId="478"/>
          <ac:spMkLst>
            <pc:docMk/>
            <pc:sldMk cId="3270792525" sldId="1273"/>
            <ac:spMk id="199" creationId="{0EE4F35F-DE32-43C4-A1CC-9BB3FE78D71C}"/>
          </ac:spMkLst>
        </pc:spChg>
        <pc:spChg chg="add del mod">
          <ac:chgData name="Clark, Connie" userId="73351e60-ad32-4085-a232-1d9f9b189479" providerId="ADAL" clId="{1712031B-0999-404D-92BA-B97253215D59}" dt="2021-02-11T22:06:29.134" v="686" actId="478"/>
          <ac:spMkLst>
            <pc:docMk/>
            <pc:sldMk cId="3270792525" sldId="1273"/>
            <ac:spMk id="201" creationId="{3E44B51B-4BE7-470B-B082-D7133659DFDD}"/>
          </ac:spMkLst>
        </pc:spChg>
        <pc:spChg chg="add del mod">
          <ac:chgData name="Clark, Connie" userId="73351e60-ad32-4085-a232-1d9f9b189479" providerId="ADAL" clId="{1712031B-0999-404D-92BA-B97253215D59}" dt="2021-02-11T22:06:29.134" v="686" actId="478"/>
          <ac:spMkLst>
            <pc:docMk/>
            <pc:sldMk cId="3270792525" sldId="1273"/>
            <ac:spMk id="203" creationId="{E099CBC7-E58F-4C19-8423-13A6627A8FFD}"/>
          </ac:spMkLst>
        </pc:spChg>
        <pc:spChg chg="add del mod">
          <ac:chgData name="Clark, Connie" userId="73351e60-ad32-4085-a232-1d9f9b189479" providerId="ADAL" clId="{1712031B-0999-404D-92BA-B97253215D59}" dt="2021-02-11T22:06:29.134" v="686" actId="478"/>
          <ac:spMkLst>
            <pc:docMk/>
            <pc:sldMk cId="3270792525" sldId="1273"/>
            <ac:spMk id="204" creationId="{59E64022-4BDB-4A60-A6CE-0E435CF2A83E}"/>
          </ac:spMkLst>
        </pc:spChg>
        <pc:spChg chg="add del mod">
          <ac:chgData name="Clark, Connie" userId="73351e60-ad32-4085-a232-1d9f9b189479" providerId="ADAL" clId="{1712031B-0999-404D-92BA-B97253215D59}" dt="2021-02-11T22:06:29.134" v="686" actId="478"/>
          <ac:spMkLst>
            <pc:docMk/>
            <pc:sldMk cId="3270792525" sldId="1273"/>
            <ac:spMk id="205" creationId="{319F6A8A-CECE-40EB-9A50-C42EAD1B616B}"/>
          </ac:spMkLst>
        </pc:spChg>
        <pc:spChg chg="add mod">
          <ac:chgData name="Clark, Connie" userId="73351e60-ad32-4085-a232-1d9f9b189479" providerId="ADAL" clId="{1712031B-0999-404D-92BA-B97253215D59}" dt="2021-02-11T22:06:37.135" v="736" actId="1037"/>
          <ac:spMkLst>
            <pc:docMk/>
            <pc:sldMk cId="3270792525" sldId="1273"/>
            <ac:spMk id="209" creationId="{F3715F0A-9009-40EA-BB4B-530D213C6A07}"/>
          </ac:spMkLst>
        </pc:spChg>
        <pc:spChg chg="add mod">
          <ac:chgData name="Clark, Connie" userId="73351e60-ad32-4085-a232-1d9f9b189479" providerId="ADAL" clId="{1712031B-0999-404D-92BA-B97253215D59}" dt="2021-02-11T22:06:37.135" v="736" actId="1037"/>
          <ac:spMkLst>
            <pc:docMk/>
            <pc:sldMk cId="3270792525" sldId="1273"/>
            <ac:spMk id="210" creationId="{292BCC07-E052-4FD6-91E3-9E8EBB383E5B}"/>
          </ac:spMkLst>
        </pc:spChg>
        <pc:grpChg chg="add del mod">
          <ac:chgData name="Clark, Connie" userId="73351e60-ad32-4085-a232-1d9f9b189479" providerId="ADAL" clId="{1712031B-0999-404D-92BA-B97253215D59}" dt="2021-02-11T21:35:48.406" v="472"/>
          <ac:grpSpMkLst>
            <pc:docMk/>
            <pc:sldMk cId="3270792525" sldId="1273"/>
            <ac:grpSpMk id="44" creationId="{CDA46272-8014-4730-885D-961365AAB032}"/>
          </ac:grpSpMkLst>
        </pc:grpChg>
        <pc:grpChg chg="add del mod">
          <ac:chgData name="Clark, Connie" userId="73351e60-ad32-4085-a232-1d9f9b189479" providerId="ADAL" clId="{1712031B-0999-404D-92BA-B97253215D59}" dt="2021-02-11T21:35:48.406" v="472"/>
          <ac:grpSpMkLst>
            <pc:docMk/>
            <pc:sldMk cId="3270792525" sldId="1273"/>
            <ac:grpSpMk id="66" creationId="{0E17BFCA-8031-40C7-8044-BF61E7375663}"/>
          </ac:grpSpMkLst>
        </pc:grpChg>
        <pc:grpChg chg="add del mod">
          <ac:chgData name="Clark, Connie" userId="73351e60-ad32-4085-a232-1d9f9b189479" providerId="ADAL" clId="{1712031B-0999-404D-92BA-B97253215D59}" dt="2021-02-11T21:35:48.406" v="472"/>
          <ac:grpSpMkLst>
            <pc:docMk/>
            <pc:sldMk cId="3270792525" sldId="1273"/>
            <ac:grpSpMk id="70" creationId="{EFA0978E-6918-497B-B3DD-FC6595D0BEE1}"/>
          </ac:grpSpMkLst>
        </pc:grpChg>
        <pc:grpChg chg="add del mod">
          <ac:chgData name="Clark, Connie" userId="73351e60-ad32-4085-a232-1d9f9b189479" providerId="ADAL" clId="{1712031B-0999-404D-92BA-B97253215D59}" dt="2021-02-11T21:36:12.020" v="476"/>
          <ac:grpSpMkLst>
            <pc:docMk/>
            <pc:sldMk cId="3270792525" sldId="1273"/>
            <ac:grpSpMk id="78" creationId="{9510EA68-C9DF-41E5-BF2E-F64B5B5179A3}"/>
          </ac:grpSpMkLst>
        </pc:grpChg>
        <pc:grpChg chg="add del mod">
          <ac:chgData name="Clark, Connie" userId="73351e60-ad32-4085-a232-1d9f9b189479" providerId="ADAL" clId="{1712031B-0999-404D-92BA-B97253215D59}" dt="2021-02-11T21:36:12.020" v="476"/>
          <ac:grpSpMkLst>
            <pc:docMk/>
            <pc:sldMk cId="3270792525" sldId="1273"/>
            <ac:grpSpMk id="96" creationId="{D9AE2B59-84CB-43E3-8010-12899F0BBE30}"/>
          </ac:grpSpMkLst>
        </pc:grpChg>
        <pc:grpChg chg="add del mod">
          <ac:chgData name="Clark, Connie" userId="73351e60-ad32-4085-a232-1d9f9b189479" providerId="ADAL" clId="{1712031B-0999-404D-92BA-B97253215D59}" dt="2021-02-11T21:36:12.020" v="476"/>
          <ac:grpSpMkLst>
            <pc:docMk/>
            <pc:sldMk cId="3270792525" sldId="1273"/>
            <ac:grpSpMk id="100" creationId="{66788254-5A29-4779-A6E6-6C5A197329BF}"/>
          </ac:grpSpMkLst>
        </pc:grpChg>
        <pc:grpChg chg="add del mod">
          <ac:chgData name="Clark, Connie" userId="73351e60-ad32-4085-a232-1d9f9b189479" providerId="ADAL" clId="{1712031B-0999-404D-92BA-B97253215D59}" dt="2021-02-11T22:02:13.251" v="584" actId="478"/>
          <ac:grpSpMkLst>
            <pc:docMk/>
            <pc:sldMk cId="3270792525" sldId="1273"/>
            <ac:grpSpMk id="108" creationId="{3D2A4DEF-2981-4DB8-926E-5F081836CC91}"/>
          </ac:grpSpMkLst>
        </pc:grpChg>
        <pc:grpChg chg="add del mod">
          <ac:chgData name="Clark, Connie" userId="73351e60-ad32-4085-a232-1d9f9b189479" providerId="ADAL" clId="{1712031B-0999-404D-92BA-B97253215D59}" dt="2021-02-11T22:02:13.251" v="584" actId="478"/>
          <ac:grpSpMkLst>
            <pc:docMk/>
            <pc:sldMk cId="3270792525" sldId="1273"/>
            <ac:grpSpMk id="126" creationId="{FD82146F-61A3-4276-B1BC-85EAF396E274}"/>
          </ac:grpSpMkLst>
        </pc:grpChg>
        <pc:grpChg chg="add del mod">
          <ac:chgData name="Clark, Connie" userId="73351e60-ad32-4085-a232-1d9f9b189479" providerId="ADAL" clId="{1712031B-0999-404D-92BA-B97253215D59}" dt="2021-02-11T22:02:13.251" v="584" actId="478"/>
          <ac:grpSpMkLst>
            <pc:docMk/>
            <pc:sldMk cId="3270792525" sldId="1273"/>
            <ac:grpSpMk id="130" creationId="{BAE1308F-9EA8-4D3F-8AC2-67E53AFCFAB8}"/>
          </ac:grpSpMkLst>
        </pc:grpChg>
        <pc:grpChg chg="add del mod">
          <ac:chgData name="Clark, Connie" userId="73351e60-ad32-4085-a232-1d9f9b189479" providerId="ADAL" clId="{1712031B-0999-404D-92BA-B97253215D59}" dt="2021-02-11T22:02:13.251" v="584" actId="478"/>
          <ac:grpSpMkLst>
            <pc:docMk/>
            <pc:sldMk cId="3270792525" sldId="1273"/>
            <ac:grpSpMk id="134" creationId="{D897764E-0E2B-484F-856F-7E755D31F0A1}"/>
          </ac:grpSpMkLst>
        </pc:grpChg>
        <pc:grpChg chg="add mod">
          <ac:chgData name="Clark, Connie" userId="73351e60-ad32-4085-a232-1d9f9b189479" providerId="ADAL" clId="{1712031B-0999-404D-92BA-B97253215D59}" dt="2021-02-11T22:12:42.216" v="823"/>
          <ac:grpSpMkLst>
            <pc:docMk/>
            <pc:sldMk cId="3270792525" sldId="1273"/>
            <ac:grpSpMk id="146" creationId="{B2B5C20C-A118-4281-860E-783F5F87708B}"/>
          </ac:grpSpMkLst>
        </pc:grpChg>
        <pc:grpChg chg="add mod">
          <ac:chgData name="Clark, Connie" userId="73351e60-ad32-4085-a232-1d9f9b189479" providerId="ADAL" clId="{1712031B-0999-404D-92BA-B97253215D59}" dt="2021-02-11T22:13:33.042" v="842"/>
          <ac:grpSpMkLst>
            <pc:docMk/>
            <pc:sldMk cId="3270792525" sldId="1273"/>
            <ac:grpSpMk id="164" creationId="{660ABCEF-6D83-4A19-85DB-054E0D289FF4}"/>
          </ac:grpSpMkLst>
        </pc:grpChg>
        <pc:grpChg chg="add mod">
          <ac:chgData name="Clark, Connie" userId="73351e60-ad32-4085-a232-1d9f9b189479" providerId="ADAL" clId="{1712031B-0999-404D-92BA-B97253215D59}" dt="2021-02-11T22:14:02.073" v="851"/>
          <ac:grpSpMkLst>
            <pc:docMk/>
            <pc:sldMk cId="3270792525" sldId="1273"/>
            <ac:grpSpMk id="168" creationId="{2435A22F-D7A1-4AB2-9873-0533DAC69224}"/>
          </ac:grpSpMkLst>
        </pc:grpChg>
        <pc:grpChg chg="add mod">
          <ac:chgData name="Clark, Connie" userId="73351e60-ad32-4085-a232-1d9f9b189479" providerId="ADAL" clId="{1712031B-0999-404D-92BA-B97253215D59}" dt="2021-02-11T22:02:33.492" v="606" actId="1036"/>
          <ac:grpSpMkLst>
            <pc:docMk/>
            <pc:sldMk cId="3270792525" sldId="1273"/>
            <ac:grpSpMk id="178" creationId="{5105282C-DBE4-42D6-A825-75C37B724A83}"/>
          </ac:grpSpMkLst>
        </pc:grpChg>
        <pc:graphicFrameChg chg="del">
          <ac:chgData name="Clark, Connie" userId="73351e60-ad32-4085-a232-1d9f9b189479" providerId="ADAL" clId="{1712031B-0999-404D-92BA-B97253215D59}" dt="2021-02-11T21:34:36.869" v="449" actId="478"/>
          <ac:graphicFrameMkLst>
            <pc:docMk/>
            <pc:sldMk cId="3270792525" sldId="1273"/>
            <ac:graphicFrameMk id="23" creationId="{151B060D-DBD2-40BA-A603-1A32E7B2CC6E}"/>
          </ac:graphicFrameMkLst>
        </pc:graphicFrameChg>
        <pc:picChg chg="mod">
          <ac:chgData name="Clark, Connie" userId="73351e60-ad32-4085-a232-1d9f9b189479" providerId="ADAL" clId="{1712031B-0999-404D-92BA-B97253215D59}" dt="2021-02-11T21:35:40.505" v="450"/>
          <ac:picMkLst>
            <pc:docMk/>
            <pc:sldMk cId="3270792525" sldId="1273"/>
            <ac:picMk id="46" creationId="{8E436D06-A78F-4C18-8C82-F043FB594ADB}"/>
          </ac:picMkLst>
        </pc:picChg>
        <pc:picChg chg="mod">
          <ac:chgData name="Clark, Connie" userId="73351e60-ad32-4085-a232-1d9f9b189479" providerId="ADAL" clId="{1712031B-0999-404D-92BA-B97253215D59}" dt="2021-02-11T21:35:40.505" v="450"/>
          <ac:picMkLst>
            <pc:docMk/>
            <pc:sldMk cId="3270792525" sldId="1273"/>
            <ac:picMk id="47" creationId="{8F2BBC4E-ACF4-45BC-AB35-B23DEE8360E9}"/>
          </ac:picMkLst>
        </pc:picChg>
        <pc:picChg chg="mod">
          <ac:chgData name="Clark, Connie" userId="73351e60-ad32-4085-a232-1d9f9b189479" providerId="ADAL" clId="{1712031B-0999-404D-92BA-B97253215D59}" dt="2021-02-11T21:35:40.505" v="450"/>
          <ac:picMkLst>
            <pc:docMk/>
            <pc:sldMk cId="3270792525" sldId="1273"/>
            <ac:picMk id="52" creationId="{D4F2419E-B911-4535-9C4D-C6BEFD97FF67}"/>
          </ac:picMkLst>
        </pc:picChg>
        <pc:picChg chg="mod">
          <ac:chgData name="Clark, Connie" userId="73351e60-ad32-4085-a232-1d9f9b189479" providerId="ADAL" clId="{1712031B-0999-404D-92BA-B97253215D59}" dt="2021-02-11T21:35:40.505" v="450"/>
          <ac:picMkLst>
            <pc:docMk/>
            <pc:sldMk cId="3270792525" sldId="1273"/>
            <ac:picMk id="53" creationId="{DA47A471-9BB7-499E-A363-3468B29B110C}"/>
          </ac:picMkLst>
        </pc:picChg>
        <pc:picChg chg="mod">
          <ac:chgData name="Clark, Connie" userId="73351e60-ad32-4085-a232-1d9f9b189479" providerId="ADAL" clId="{1712031B-0999-404D-92BA-B97253215D59}" dt="2021-02-11T21:35:40.505" v="450"/>
          <ac:picMkLst>
            <pc:docMk/>
            <pc:sldMk cId="3270792525" sldId="1273"/>
            <ac:picMk id="54" creationId="{90DBB2B9-EF35-4688-A826-45AF834FBFE0}"/>
          </ac:picMkLst>
        </pc:picChg>
        <pc:picChg chg="mod">
          <ac:chgData name="Clark, Connie" userId="73351e60-ad32-4085-a232-1d9f9b189479" providerId="ADAL" clId="{1712031B-0999-404D-92BA-B97253215D59}" dt="2021-02-11T21:35:40.505" v="450"/>
          <ac:picMkLst>
            <pc:docMk/>
            <pc:sldMk cId="3270792525" sldId="1273"/>
            <ac:picMk id="55" creationId="{33F41B08-2181-41E6-9367-57097F774297}"/>
          </ac:picMkLst>
        </pc:picChg>
        <pc:picChg chg="mod">
          <ac:chgData name="Clark, Connie" userId="73351e60-ad32-4085-a232-1d9f9b189479" providerId="ADAL" clId="{1712031B-0999-404D-92BA-B97253215D59}" dt="2021-02-11T21:35:40.505" v="450"/>
          <ac:picMkLst>
            <pc:docMk/>
            <pc:sldMk cId="3270792525" sldId="1273"/>
            <ac:picMk id="67" creationId="{3A6FE2D3-310F-4688-A2D3-1DB661FDECD3}"/>
          </ac:picMkLst>
        </pc:picChg>
        <pc:picChg chg="mod">
          <ac:chgData name="Clark, Connie" userId="73351e60-ad32-4085-a232-1d9f9b189479" providerId="ADAL" clId="{1712031B-0999-404D-92BA-B97253215D59}" dt="2021-02-11T21:35:40.505" v="450"/>
          <ac:picMkLst>
            <pc:docMk/>
            <pc:sldMk cId="3270792525" sldId="1273"/>
            <ac:picMk id="71" creationId="{640DE3C4-A616-4802-B07F-C1D627270A1F}"/>
          </ac:picMkLst>
        </pc:picChg>
        <pc:picChg chg="mod">
          <ac:chgData name="Clark, Connie" userId="73351e60-ad32-4085-a232-1d9f9b189479" providerId="ADAL" clId="{1712031B-0999-404D-92BA-B97253215D59}" dt="2021-02-11T21:36:05.733" v="473"/>
          <ac:picMkLst>
            <pc:docMk/>
            <pc:sldMk cId="3270792525" sldId="1273"/>
            <ac:picMk id="80" creationId="{CFC6175B-2C6E-4EDB-A3DF-69F71562E75F}"/>
          </ac:picMkLst>
        </pc:picChg>
        <pc:picChg chg="mod">
          <ac:chgData name="Clark, Connie" userId="73351e60-ad32-4085-a232-1d9f9b189479" providerId="ADAL" clId="{1712031B-0999-404D-92BA-B97253215D59}" dt="2021-02-11T21:36:05.733" v="473"/>
          <ac:picMkLst>
            <pc:docMk/>
            <pc:sldMk cId="3270792525" sldId="1273"/>
            <ac:picMk id="81" creationId="{656D73B3-60D3-4711-B649-9E11C5EAD4AD}"/>
          </ac:picMkLst>
        </pc:picChg>
        <pc:picChg chg="mod">
          <ac:chgData name="Clark, Connie" userId="73351e60-ad32-4085-a232-1d9f9b189479" providerId="ADAL" clId="{1712031B-0999-404D-92BA-B97253215D59}" dt="2021-02-11T21:36:05.733" v="473"/>
          <ac:picMkLst>
            <pc:docMk/>
            <pc:sldMk cId="3270792525" sldId="1273"/>
            <ac:picMk id="82" creationId="{0D737206-4DDA-4CDF-BCE8-9AD4864FBEE6}"/>
          </ac:picMkLst>
        </pc:picChg>
        <pc:picChg chg="mod">
          <ac:chgData name="Clark, Connie" userId="73351e60-ad32-4085-a232-1d9f9b189479" providerId="ADAL" clId="{1712031B-0999-404D-92BA-B97253215D59}" dt="2021-02-11T21:36:05.733" v="473"/>
          <ac:picMkLst>
            <pc:docMk/>
            <pc:sldMk cId="3270792525" sldId="1273"/>
            <ac:picMk id="83" creationId="{4BDF5279-E319-40AC-81EC-571BCD123B05}"/>
          </ac:picMkLst>
        </pc:picChg>
        <pc:picChg chg="mod">
          <ac:chgData name="Clark, Connie" userId="73351e60-ad32-4085-a232-1d9f9b189479" providerId="ADAL" clId="{1712031B-0999-404D-92BA-B97253215D59}" dt="2021-02-11T21:36:05.733" v="473"/>
          <ac:picMkLst>
            <pc:docMk/>
            <pc:sldMk cId="3270792525" sldId="1273"/>
            <ac:picMk id="84" creationId="{79D47971-FD38-410A-989F-F98F7E87E90D}"/>
          </ac:picMkLst>
        </pc:picChg>
        <pc:picChg chg="mod">
          <ac:chgData name="Clark, Connie" userId="73351e60-ad32-4085-a232-1d9f9b189479" providerId="ADAL" clId="{1712031B-0999-404D-92BA-B97253215D59}" dt="2021-02-11T21:36:05.733" v="473"/>
          <ac:picMkLst>
            <pc:docMk/>
            <pc:sldMk cId="3270792525" sldId="1273"/>
            <ac:picMk id="85" creationId="{6C3A5B38-5FDF-4E90-B92D-7AF39201A084}"/>
          </ac:picMkLst>
        </pc:picChg>
        <pc:picChg chg="mod">
          <ac:chgData name="Clark, Connie" userId="73351e60-ad32-4085-a232-1d9f9b189479" providerId="ADAL" clId="{1712031B-0999-404D-92BA-B97253215D59}" dt="2021-02-11T21:36:05.733" v="473"/>
          <ac:picMkLst>
            <pc:docMk/>
            <pc:sldMk cId="3270792525" sldId="1273"/>
            <ac:picMk id="97" creationId="{4233360B-0CE3-4FF4-B305-40A10B7AFDC1}"/>
          </ac:picMkLst>
        </pc:picChg>
        <pc:picChg chg="mod">
          <ac:chgData name="Clark, Connie" userId="73351e60-ad32-4085-a232-1d9f9b189479" providerId="ADAL" clId="{1712031B-0999-404D-92BA-B97253215D59}" dt="2021-02-11T21:36:05.733" v="473"/>
          <ac:picMkLst>
            <pc:docMk/>
            <pc:sldMk cId="3270792525" sldId="1273"/>
            <ac:picMk id="101" creationId="{73D5B3CF-B139-43AC-B43A-E9BC974BC08B}"/>
          </ac:picMkLst>
        </pc:picChg>
        <pc:picChg chg="mod">
          <ac:chgData name="Clark, Connie" userId="73351e60-ad32-4085-a232-1d9f9b189479" providerId="ADAL" clId="{1712031B-0999-404D-92BA-B97253215D59}" dt="2021-02-11T21:36:12.036" v="477"/>
          <ac:picMkLst>
            <pc:docMk/>
            <pc:sldMk cId="3270792525" sldId="1273"/>
            <ac:picMk id="110" creationId="{C5826F27-CDA7-4B92-BBE1-959E6EC1E009}"/>
          </ac:picMkLst>
        </pc:picChg>
        <pc:picChg chg="mod">
          <ac:chgData name="Clark, Connie" userId="73351e60-ad32-4085-a232-1d9f9b189479" providerId="ADAL" clId="{1712031B-0999-404D-92BA-B97253215D59}" dt="2021-02-11T21:36:12.036" v="477"/>
          <ac:picMkLst>
            <pc:docMk/>
            <pc:sldMk cId="3270792525" sldId="1273"/>
            <ac:picMk id="111" creationId="{B5E503A4-DD7E-49AA-85DB-A621C718B251}"/>
          </ac:picMkLst>
        </pc:picChg>
        <pc:picChg chg="mod">
          <ac:chgData name="Clark, Connie" userId="73351e60-ad32-4085-a232-1d9f9b189479" providerId="ADAL" clId="{1712031B-0999-404D-92BA-B97253215D59}" dt="2021-02-11T21:36:12.036" v="477"/>
          <ac:picMkLst>
            <pc:docMk/>
            <pc:sldMk cId="3270792525" sldId="1273"/>
            <ac:picMk id="112" creationId="{F7203B74-73D3-4F5E-B207-E2B68302FE5E}"/>
          </ac:picMkLst>
        </pc:picChg>
        <pc:picChg chg="mod">
          <ac:chgData name="Clark, Connie" userId="73351e60-ad32-4085-a232-1d9f9b189479" providerId="ADAL" clId="{1712031B-0999-404D-92BA-B97253215D59}" dt="2021-02-11T21:36:12.036" v="477"/>
          <ac:picMkLst>
            <pc:docMk/>
            <pc:sldMk cId="3270792525" sldId="1273"/>
            <ac:picMk id="113" creationId="{1F3D5C3D-23D7-403B-A51E-EDD2169FA4FE}"/>
          </ac:picMkLst>
        </pc:picChg>
        <pc:picChg chg="mod">
          <ac:chgData name="Clark, Connie" userId="73351e60-ad32-4085-a232-1d9f9b189479" providerId="ADAL" clId="{1712031B-0999-404D-92BA-B97253215D59}" dt="2021-02-11T21:36:12.036" v="477"/>
          <ac:picMkLst>
            <pc:docMk/>
            <pc:sldMk cId="3270792525" sldId="1273"/>
            <ac:picMk id="114" creationId="{5DE6FEBB-1911-43CE-B64A-E254054DBEA8}"/>
          </ac:picMkLst>
        </pc:picChg>
        <pc:picChg chg="mod">
          <ac:chgData name="Clark, Connie" userId="73351e60-ad32-4085-a232-1d9f9b189479" providerId="ADAL" clId="{1712031B-0999-404D-92BA-B97253215D59}" dt="2021-02-11T21:36:12.036" v="477"/>
          <ac:picMkLst>
            <pc:docMk/>
            <pc:sldMk cId="3270792525" sldId="1273"/>
            <ac:picMk id="115" creationId="{529A11F2-3373-4050-B461-B81223E1B003}"/>
          </ac:picMkLst>
        </pc:picChg>
        <pc:picChg chg="mod">
          <ac:chgData name="Clark, Connie" userId="73351e60-ad32-4085-a232-1d9f9b189479" providerId="ADAL" clId="{1712031B-0999-404D-92BA-B97253215D59}" dt="2021-02-11T21:36:12.036" v="477"/>
          <ac:picMkLst>
            <pc:docMk/>
            <pc:sldMk cId="3270792525" sldId="1273"/>
            <ac:picMk id="127" creationId="{DEED9522-8466-4EA7-B86E-364F5C3C2050}"/>
          </ac:picMkLst>
        </pc:picChg>
        <pc:picChg chg="mod">
          <ac:chgData name="Clark, Connie" userId="73351e60-ad32-4085-a232-1d9f9b189479" providerId="ADAL" clId="{1712031B-0999-404D-92BA-B97253215D59}" dt="2021-02-11T21:36:12.036" v="477"/>
          <ac:picMkLst>
            <pc:docMk/>
            <pc:sldMk cId="3270792525" sldId="1273"/>
            <ac:picMk id="131" creationId="{4D34FAE9-2EC2-4C60-A94A-8DC63055A528}"/>
          </ac:picMkLst>
        </pc:picChg>
        <pc:picChg chg="mod">
          <ac:chgData name="Clark, Connie" userId="73351e60-ad32-4085-a232-1d9f9b189479" providerId="ADAL" clId="{1712031B-0999-404D-92BA-B97253215D59}" dt="2021-02-11T21:36:56.583" v="504"/>
          <ac:picMkLst>
            <pc:docMk/>
            <pc:sldMk cId="3270792525" sldId="1273"/>
            <ac:picMk id="135" creationId="{A142B136-BDD3-432E-A394-4BE0692E5AA7}"/>
          </ac:picMkLst>
        </pc:picChg>
        <pc:picChg chg="mod">
          <ac:chgData name="Clark, Connie" userId="73351e60-ad32-4085-a232-1d9f9b189479" providerId="ADAL" clId="{1712031B-0999-404D-92BA-B97253215D59}" dt="2021-02-11T21:36:56.583" v="504"/>
          <ac:picMkLst>
            <pc:docMk/>
            <pc:sldMk cId="3270792525" sldId="1273"/>
            <ac:picMk id="136" creationId="{1BBB7143-FD3A-443F-9403-CBACAEF9A6AA}"/>
          </ac:picMkLst>
        </pc:picChg>
        <pc:picChg chg="mod">
          <ac:chgData name="Clark, Connie" userId="73351e60-ad32-4085-a232-1d9f9b189479" providerId="ADAL" clId="{1712031B-0999-404D-92BA-B97253215D59}" dt="2021-02-11T22:12:42.216" v="823"/>
          <ac:picMkLst>
            <pc:docMk/>
            <pc:sldMk cId="3270792525" sldId="1273"/>
            <ac:picMk id="148" creationId="{D67E9079-593B-41F7-BC7E-AB4D7AFD44E8}"/>
          </ac:picMkLst>
        </pc:picChg>
        <pc:picChg chg="mod">
          <ac:chgData name="Clark, Connie" userId="73351e60-ad32-4085-a232-1d9f9b189479" providerId="ADAL" clId="{1712031B-0999-404D-92BA-B97253215D59}" dt="2021-02-11T22:12:42.216" v="823"/>
          <ac:picMkLst>
            <pc:docMk/>
            <pc:sldMk cId="3270792525" sldId="1273"/>
            <ac:picMk id="149" creationId="{FBD187EF-3EAD-4804-A9F9-D6FA720EB90B}"/>
          </ac:picMkLst>
        </pc:picChg>
        <pc:picChg chg="mod">
          <ac:chgData name="Clark, Connie" userId="73351e60-ad32-4085-a232-1d9f9b189479" providerId="ADAL" clId="{1712031B-0999-404D-92BA-B97253215D59}" dt="2021-02-11T22:12:42.216" v="823"/>
          <ac:picMkLst>
            <pc:docMk/>
            <pc:sldMk cId="3270792525" sldId="1273"/>
            <ac:picMk id="150" creationId="{9A428A3C-B7D6-4A74-A05D-753B548AD238}"/>
          </ac:picMkLst>
        </pc:picChg>
        <pc:picChg chg="mod">
          <ac:chgData name="Clark, Connie" userId="73351e60-ad32-4085-a232-1d9f9b189479" providerId="ADAL" clId="{1712031B-0999-404D-92BA-B97253215D59}" dt="2021-02-11T22:12:42.216" v="823"/>
          <ac:picMkLst>
            <pc:docMk/>
            <pc:sldMk cId="3270792525" sldId="1273"/>
            <ac:picMk id="151" creationId="{2C3E1330-65E8-491C-A460-C0874438992E}"/>
          </ac:picMkLst>
        </pc:picChg>
        <pc:picChg chg="mod">
          <ac:chgData name="Clark, Connie" userId="73351e60-ad32-4085-a232-1d9f9b189479" providerId="ADAL" clId="{1712031B-0999-404D-92BA-B97253215D59}" dt="2021-02-11T22:12:42.216" v="823"/>
          <ac:picMkLst>
            <pc:docMk/>
            <pc:sldMk cId="3270792525" sldId="1273"/>
            <ac:picMk id="152" creationId="{30598387-A713-42A6-BB42-367D4E80CE3C}"/>
          </ac:picMkLst>
        </pc:picChg>
        <pc:picChg chg="mod">
          <ac:chgData name="Clark, Connie" userId="73351e60-ad32-4085-a232-1d9f9b189479" providerId="ADAL" clId="{1712031B-0999-404D-92BA-B97253215D59}" dt="2021-02-11T22:12:42.216" v="823"/>
          <ac:picMkLst>
            <pc:docMk/>
            <pc:sldMk cId="3270792525" sldId="1273"/>
            <ac:picMk id="153" creationId="{EDA0769F-92B8-4144-9D24-68BD6696ADAE}"/>
          </ac:picMkLst>
        </pc:picChg>
        <pc:picChg chg="mod">
          <ac:chgData name="Clark, Connie" userId="73351e60-ad32-4085-a232-1d9f9b189479" providerId="ADAL" clId="{1712031B-0999-404D-92BA-B97253215D59}" dt="2021-02-11T22:13:33.042" v="842"/>
          <ac:picMkLst>
            <pc:docMk/>
            <pc:sldMk cId="3270792525" sldId="1273"/>
            <ac:picMk id="165" creationId="{228DDAEF-E543-44D5-B37B-EFDC2017C822}"/>
          </ac:picMkLst>
        </pc:picChg>
        <pc:picChg chg="mod">
          <ac:chgData name="Clark, Connie" userId="73351e60-ad32-4085-a232-1d9f9b189479" providerId="ADAL" clId="{1712031B-0999-404D-92BA-B97253215D59}" dt="2021-02-11T22:14:02.073" v="851"/>
          <ac:picMkLst>
            <pc:docMk/>
            <pc:sldMk cId="3270792525" sldId="1273"/>
            <ac:picMk id="169" creationId="{A4552B7A-E220-4D02-AD47-487514035023}"/>
          </ac:picMkLst>
        </pc:picChg>
        <pc:picChg chg="add mod">
          <ac:chgData name="Clark, Connie" userId="73351e60-ad32-4085-a232-1d9f9b189479" providerId="ADAL" clId="{1712031B-0999-404D-92BA-B97253215D59}" dt="2021-02-11T22:02:33.492" v="606" actId="1036"/>
          <ac:picMkLst>
            <pc:docMk/>
            <pc:sldMk cId="3270792525" sldId="1273"/>
            <ac:picMk id="172" creationId="{96540D31-558F-4263-9A66-409FB219D2C1}"/>
          </ac:picMkLst>
        </pc:picChg>
        <pc:picChg chg="add mod">
          <ac:chgData name="Clark, Connie" userId="73351e60-ad32-4085-a232-1d9f9b189479" providerId="ADAL" clId="{1712031B-0999-404D-92BA-B97253215D59}" dt="2021-02-11T22:02:33.492" v="606" actId="1036"/>
          <ac:picMkLst>
            <pc:docMk/>
            <pc:sldMk cId="3270792525" sldId="1273"/>
            <ac:picMk id="173" creationId="{B7ADE37F-F20A-4F8F-948C-A4B92467E944}"/>
          </ac:picMkLst>
        </pc:picChg>
        <pc:picChg chg="mod">
          <ac:chgData name="Clark, Connie" userId="73351e60-ad32-4085-a232-1d9f9b189479" providerId="ADAL" clId="{1712031B-0999-404D-92BA-B97253215D59}" dt="2021-02-11T22:02:27.420" v="585"/>
          <ac:picMkLst>
            <pc:docMk/>
            <pc:sldMk cId="3270792525" sldId="1273"/>
            <ac:picMk id="179" creationId="{BA8A0DA1-27C0-4B18-9B03-AE1D02878839}"/>
          </ac:picMkLst>
        </pc:picChg>
        <pc:picChg chg="mod">
          <ac:chgData name="Clark, Connie" userId="73351e60-ad32-4085-a232-1d9f9b189479" providerId="ADAL" clId="{1712031B-0999-404D-92BA-B97253215D59}" dt="2021-02-11T22:02:27.420" v="585"/>
          <ac:picMkLst>
            <pc:docMk/>
            <pc:sldMk cId="3270792525" sldId="1273"/>
            <ac:picMk id="181" creationId="{55AD5EAB-C17C-4021-9FD5-22E8ED829003}"/>
          </ac:picMkLst>
        </pc:picChg>
        <pc:picChg chg="add mod">
          <ac:chgData name="Clark, Connie" userId="73351e60-ad32-4085-a232-1d9f9b189479" providerId="ADAL" clId="{1712031B-0999-404D-92BA-B97253215D59}" dt="2021-02-11T22:02:33.492" v="606" actId="1036"/>
          <ac:picMkLst>
            <pc:docMk/>
            <pc:sldMk cId="3270792525" sldId="1273"/>
            <ac:picMk id="185" creationId="{39CDCD84-074A-47EE-817B-B3085423BB89}"/>
          </ac:picMkLst>
        </pc:picChg>
        <pc:picChg chg="add mod">
          <ac:chgData name="Clark, Connie" userId="73351e60-ad32-4085-a232-1d9f9b189479" providerId="ADAL" clId="{1712031B-0999-404D-92BA-B97253215D59}" dt="2021-02-11T22:02:33.492" v="606" actId="1036"/>
          <ac:picMkLst>
            <pc:docMk/>
            <pc:sldMk cId="3270792525" sldId="1273"/>
            <ac:picMk id="186" creationId="{C74FDA5C-A5A5-4CC0-8E5A-3437F14120E0}"/>
          </ac:picMkLst>
        </pc:picChg>
        <pc:picChg chg="add del mod">
          <ac:chgData name="Clark, Connie" userId="73351e60-ad32-4085-a232-1d9f9b189479" providerId="ADAL" clId="{1712031B-0999-404D-92BA-B97253215D59}" dt="2021-02-11T22:06:29.134" v="686" actId="478"/>
          <ac:picMkLst>
            <pc:docMk/>
            <pc:sldMk cId="3270792525" sldId="1273"/>
            <ac:picMk id="192" creationId="{C5B2AFBE-4550-4880-AC08-06CBA5E8B82D}"/>
          </ac:picMkLst>
        </pc:picChg>
        <pc:picChg chg="add del mod">
          <ac:chgData name="Clark, Connie" userId="73351e60-ad32-4085-a232-1d9f9b189479" providerId="ADAL" clId="{1712031B-0999-404D-92BA-B97253215D59}" dt="2021-02-11T22:06:29.134" v="686" actId="478"/>
          <ac:picMkLst>
            <pc:docMk/>
            <pc:sldMk cId="3270792525" sldId="1273"/>
            <ac:picMk id="194" creationId="{907225C2-A3D6-4836-9A3B-35C4A81A1228}"/>
          </ac:picMkLst>
        </pc:picChg>
        <pc:picChg chg="add del mod">
          <ac:chgData name="Clark, Connie" userId="73351e60-ad32-4085-a232-1d9f9b189479" providerId="ADAL" clId="{1712031B-0999-404D-92BA-B97253215D59}" dt="2021-02-11T22:06:29.134" v="686" actId="478"/>
          <ac:picMkLst>
            <pc:docMk/>
            <pc:sldMk cId="3270792525" sldId="1273"/>
            <ac:picMk id="196" creationId="{C51AEAE8-B99C-4653-BA75-D12AEC250BAD}"/>
          </ac:picMkLst>
        </pc:picChg>
        <pc:picChg chg="add del mod">
          <ac:chgData name="Clark, Connie" userId="73351e60-ad32-4085-a232-1d9f9b189479" providerId="ADAL" clId="{1712031B-0999-404D-92BA-B97253215D59}" dt="2021-02-11T22:06:29.134" v="686" actId="478"/>
          <ac:picMkLst>
            <pc:docMk/>
            <pc:sldMk cId="3270792525" sldId="1273"/>
            <ac:picMk id="198" creationId="{4F7C9000-D64C-4486-8484-2E4BF924D184}"/>
          </ac:picMkLst>
        </pc:picChg>
        <pc:picChg chg="add del mod">
          <ac:chgData name="Clark, Connie" userId="73351e60-ad32-4085-a232-1d9f9b189479" providerId="ADAL" clId="{1712031B-0999-404D-92BA-B97253215D59}" dt="2021-02-11T22:06:29.134" v="686" actId="478"/>
          <ac:picMkLst>
            <pc:docMk/>
            <pc:sldMk cId="3270792525" sldId="1273"/>
            <ac:picMk id="200" creationId="{A388E8FB-64CE-48F2-8BAE-C5A7E95AA42C}"/>
          </ac:picMkLst>
        </pc:picChg>
        <pc:picChg chg="add del mod">
          <ac:chgData name="Clark, Connie" userId="73351e60-ad32-4085-a232-1d9f9b189479" providerId="ADAL" clId="{1712031B-0999-404D-92BA-B97253215D59}" dt="2021-02-11T22:06:29.134" v="686" actId="478"/>
          <ac:picMkLst>
            <pc:docMk/>
            <pc:sldMk cId="3270792525" sldId="1273"/>
            <ac:picMk id="202" creationId="{850FEACE-E327-4B1D-B130-9E04FD743CAF}"/>
          </ac:picMkLst>
        </pc:picChg>
        <pc:picChg chg="add del mod">
          <ac:chgData name="Clark, Connie" userId="73351e60-ad32-4085-a232-1d9f9b189479" providerId="ADAL" clId="{1712031B-0999-404D-92BA-B97253215D59}" dt="2021-02-11T22:06:29.134" v="686" actId="478"/>
          <ac:picMkLst>
            <pc:docMk/>
            <pc:sldMk cId="3270792525" sldId="1273"/>
            <ac:picMk id="206" creationId="{D5F436E5-0145-47A1-8A38-6633A2CB965F}"/>
          </ac:picMkLst>
        </pc:picChg>
        <pc:picChg chg="add del mod">
          <ac:chgData name="Clark, Connie" userId="73351e60-ad32-4085-a232-1d9f9b189479" providerId="ADAL" clId="{1712031B-0999-404D-92BA-B97253215D59}" dt="2021-02-11T22:06:29.134" v="686" actId="478"/>
          <ac:picMkLst>
            <pc:docMk/>
            <pc:sldMk cId="3270792525" sldId="1273"/>
            <ac:picMk id="207" creationId="{CA341269-58B5-4993-8DD6-989B14471EE7}"/>
          </ac:picMkLst>
        </pc:picChg>
        <pc:picChg chg="add mod">
          <ac:chgData name="Clark, Connie" userId="73351e60-ad32-4085-a232-1d9f9b189479" providerId="ADAL" clId="{1712031B-0999-404D-92BA-B97253215D59}" dt="2021-02-11T22:06:37.135" v="736" actId="1037"/>
          <ac:picMkLst>
            <pc:docMk/>
            <pc:sldMk cId="3270792525" sldId="1273"/>
            <ac:picMk id="208" creationId="{290CFF36-473D-4689-933A-BED71132CA01}"/>
          </ac:picMkLst>
        </pc:picChg>
        <pc:cxnChg chg="del">
          <ac:chgData name="Clark, Connie" userId="73351e60-ad32-4085-a232-1d9f9b189479" providerId="ADAL" clId="{1712031B-0999-404D-92BA-B97253215D59}" dt="2021-02-11T21:34:28.690" v="447" actId="478"/>
          <ac:cxnSpMkLst>
            <pc:docMk/>
            <pc:sldMk cId="3270792525" sldId="1273"/>
            <ac:cxnSpMk id="31" creationId="{0CFFBC0C-9E9D-4A63-B139-968879621CB9}"/>
          </ac:cxnSpMkLst>
        </pc:cxnChg>
        <pc:cxnChg chg="del">
          <ac:chgData name="Clark, Connie" userId="73351e60-ad32-4085-a232-1d9f9b189479" providerId="ADAL" clId="{1712031B-0999-404D-92BA-B97253215D59}" dt="2021-02-11T21:34:28.690" v="447" actId="478"/>
          <ac:cxnSpMkLst>
            <pc:docMk/>
            <pc:sldMk cId="3270792525" sldId="1273"/>
            <ac:cxnSpMk id="33" creationId="{5011950A-33E3-4052-8447-4AEDD50DF04E}"/>
          </ac:cxnSpMkLst>
        </pc:cxnChg>
        <pc:cxnChg chg="del">
          <ac:chgData name="Clark, Connie" userId="73351e60-ad32-4085-a232-1d9f9b189479" providerId="ADAL" clId="{1712031B-0999-404D-92BA-B97253215D59}" dt="2021-02-11T21:34:28.690" v="447" actId="478"/>
          <ac:cxnSpMkLst>
            <pc:docMk/>
            <pc:sldMk cId="3270792525" sldId="1273"/>
            <ac:cxnSpMk id="34" creationId="{2E39BA93-ECF1-4B66-9471-07DE5B9E4436}"/>
          </ac:cxnSpMkLst>
        </pc:cxnChg>
        <pc:cxnChg chg="del">
          <ac:chgData name="Clark, Connie" userId="73351e60-ad32-4085-a232-1d9f9b189479" providerId="ADAL" clId="{1712031B-0999-404D-92BA-B97253215D59}" dt="2021-02-11T21:34:28.690" v="447" actId="478"/>
          <ac:cxnSpMkLst>
            <pc:docMk/>
            <pc:sldMk cId="3270792525" sldId="1273"/>
            <ac:cxnSpMk id="35" creationId="{ADB6873E-2D76-47FE-8882-A09F1FCBAF30}"/>
          </ac:cxnSpMkLst>
        </pc:cxnChg>
        <pc:cxnChg chg="del">
          <ac:chgData name="Clark, Connie" userId="73351e60-ad32-4085-a232-1d9f9b189479" providerId="ADAL" clId="{1712031B-0999-404D-92BA-B97253215D59}" dt="2021-02-11T21:34:28.690" v="447" actId="478"/>
          <ac:cxnSpMkLst>
            <pc:docMk/>
            <pc:sldMk cId="3270792525" sldId="1273"/>
            <ac:cxnSpMk id="36" creationId="{DD244C9C-FD11-4D11-AA5E-84D50C07F201}"/>
          </ac:cxnSpMkLst>
        </pc:cxnChg>
        <pc:cxnChg chg="del">
          <ac:chgData name="Clark, Connie" userId="73351e60-ad32-4085-a232-1d9f9b189479" providerId="ADAL" clId="{1712031B-0999-404D-92BA-B97253215D59}" dt="2021-02-11T21:34:28.690" v="447" actId="478"/>
          <ac:cxnSpMkLst>
            <pc:docMk/>
            <pc:sldMk cId="3270792525" sldId="1273"/>
            <ac:cxnSpMk id="40" creationId="{F9CE2F19-DB24-4335-B78E-1C595C1F0811}"/>
          </ac:cxnSpMkLst>
        </pc:cxnChg>
        <pc:cxnChg chg="del">
          <ac:chgData name="Clark, Connie" userId="73351e60-ad32-4085-a232-1d9f9b189479" providerId="ADAL" clId="{1712031B-0999-404D-92BA-B97253215D59}" dt="2021-02-11T21:34:28.690" v="447" actId="478"/>
          <ac:cxnSpMkLst>
            <pc:docMk/>
            <pc:sldMk cId="3270792525" sldId="1273"/>
            <ac:cxnSpMk id="42" creationId="{E070C590-DCBB-4BEA-985E-E5F19A9D8A21}"/>
          </ac:cxnSpMkLst>
        </pc:cxnChg>
        <pc:cxnChg chg="del">
          <ac:chgData name="Clark, Connie" userId="73351e60-ad32-4085-a232-1d9f9b189479" providerId="ADAL" clId="{1712031B-0999-404D-92BA-B97253215D59}" dt="2021-02-11T21:34:32.949" v="448" actId="478"/>
          <ac:cxnSpMkLst>
            <pc:docMk/>
            <pc:sldMk cId="3270792525" sldId="1273"/>
            <ac:cxnSpMk id="43" creationId="{7FFA2AA3-DA58-44B8-B02A-0EF4E474DB64}"/>
          </ac:cxnSpMkLst>
        </pc:cxnChg>
        <pc:cxnChg chg="mod">
          <ac:chgData name="Clark, Connie" userId="73351e60-ad32-4085-a232-1d9f9b189479" providerId="ADAL" clId="{1712031B-0999-404D-92BA-B97253215D59}" dt="2021-02-11T21:35:40.505" v="450"/>
          <ac:cxnSpMkLst>
            <pc:docMk/>
            <pc:sldMk cId="3270792525" sldId="1273"/>
            <ac:cxnSpMk id="61" creationId="{3E824299-D507-4F3B-B52C-87D2B6E0C1C1}"/>
          </ac:cxnSpMkLst>
        </pc:cxnChg>
        <pc:cxnChg chg="mod">
          <ac:chgData name="Clark, Connie" userId="73351e60-ad32-4085-a232-1d9f9b189479" providerId="ADAL" clId="{1712031B-0999-404D-92BA-B97253215D59}" dt="2021-02-11T21:35:40.505" v="450"/>
          <ac:cxnSpMkLst>
            <pc:docMk/>
            <pc:sldMk cId="3270792525" sldId="1273"/>
            <ac:cxnSpMk id="62" creationId="{2A0FF5DD-A070-4826-B7D8-6D5F8E4ED22B}"/>
          </ac:cxnSpMkLst>
        </pc:cxnChg>
        <pc:cxnChg chg="mod">
          <ac:chgData name="Clark, Connie" userId="73351e60-ad32-4085-a232-1d9f9b189479" providerId="ADAL" clId="{1712031B-0999-404D-92BA-B97253215D59}" dt="2021-02-11T21:35:40.505" v="450"/>
          <ac:cxnSpMkLst>
            <pc:docMk/>
            <pc:sldMk cId="3270792525" sldId="1273"/>
            <ac:cxnSpMk id="63" creationId="{0858D10B-D30E-4761-9D5A-97F868C601DD}"/>
          </ac:cxnSpMkLst>
        </pc:cxnChg>
        <pc:cxnChg chg="mod">
          <ac:chgData name="Clark, Connie" userId="73351e60-ad32-4085-a232-1d9f9b189479" providerId="ADAL" clId="{1712031B-0999-404D-92BA-B97253215D59}" dt="2021-02-11T21:35:40.505" v="450"/>
          <ac:cxnSpMkLst>
            <pc:docMk/>
            <pc:sldMk cId="3270792525" sldId="1273"/>
            <ac:cxnSpMk id="64" creationId="{835F0459-450C-4025-898C-CE3F429EF4D3}"/>
          </ac:cxnSpMkLst>
        </pc:cxnChg>
        <pc:cxnChg chg="mod">
          <ac:chgData name="Clark, Connie" userId="73351e60-ad32-4085-a232-1d9f9b189479" providerId="ADAL" clId="{1712031B-0999-404D-92BA-B97253215D59}" dt="2021-02-11T21:35:40.505" v="450"/>
          <ac:cxnSpMkLst>
            <pc:docMk/>
            <pc:sldMk cId="3270792525" sldId="1273"/>
            <ac:cxnSpMk id="65" creationId="{2CC59DEA-721A-4431-B0D4-F8FF2D302794}"/>
          </ac:cxnSpMkLst>
        </pc:cxnChg>
        <pc:cxnChg chg="mod">
          <ac:chgData name="Clark, Connie" userId="73351e60-ad32-4085-a232-1d9f9b189479" providerId="ADAL" clId="{1712031B-0999-404D-92BA-B97253215D59}" dt="2021-02-11T21:35:40.505" v="450"/>
          <ac:cxnSpMkLst>
            <pc:docMk/>
            <pc:sldMk cId="3270792525" sldId="1273"/>
            <ac:cxnSpMk id="69" creationId="{CDE6DD70-7225-4965-8B01-7DEE96934BEA}"/>
          </ac:cxnSpMkLst>
        </pc:cxnChg>
        <pc:cxnChg chg="mod">
          <ac:chgData name="Clark, Connie" userId="73351e60-ad32-4085-a232-1d9f9b189479" providerId="ADAL" clId="{1712031B-0999-404D-92BA-B97253215D59}" dt="2021-02-11T21:35:40.505" v="450"/>
          <ac:cxnSpMkLst>
            <pc:docMk/>
            <pc:sldMk cId="3270792525" sldId="1273"/>
            <ac:cxnSpMk id="73" creationId="{2252C0EB-C3AD-4713-A1FE-79E214BAA4CB}"/>
          </ac:cxnSpMkLst>
        </pc:cxnChg>
        <pc:cxnChg chg="mod">
          <ac:chgData name="Clark, Connie" userId="73351e60-ad32-4085-a232-1d9f9b189479" providerId="ADAL" clId="{1712031B-0999-404D-92BA-B97253215D59}" dt="2021-02-11T21:36:05.733" v="473"/>
          <ac:cxnSpMkLst>
            <pc:docMk/>
            <pc:sldMk cId="3270792525" sldId="1273"/>
            <ac:cxnSpMk id="91" creationId="{D23269A9-745B-4391-88E2-B33CF086A81E}"/>
          </ac:cxnSpMkLst>
        </pc:cxnChg>
        <pc:cxnChg chg="mod">
          <ac:chgData name="Clark, Connie" userId="73351e60-ad32-4085-a232-1d9f9b189479" providerId="ADAL" clId="{1712031B-0999-404D-92BA-B97253215D59}" dt="2021-02-11T21:36:05.733" v="473"/>
          <ac:cxnSpMkLst>
            <pc:docMk/>
            <pc:sldMk cId="3270792525" sldId="1273"/>
            <ac:cxnSpMk id="92" creationId="{0A5072A1-1120-4FD7-8D88-20845248D2E6}"/>
          </ac:cxnSpMkLst>
        </pc:cxnChg>
        <pc:cxnChg chg="mod">
          <ac:chgData name="Clark, Connie" userId="73351e60-ad32-4085-a232-1d9f9b189479" providerId="ADAL" clId="{1712031B-0999-404D-92BA-B97253215D59}" dt="2021-02-11T21:36:05.733" v="473"/>
          <ac:cxnSpMkLst>
            <pc:docMk/>
            <pc:sldMk cId="3270792525" sldId="1273"/>
            <ac:cxnSpMk id="93" creationId="{66910624-42E5-4FA0-B656-5E39FD558562}"/>
          </ac:cxnSpMkLst>
        </pc:cxnChg>
        <pc:cxnChg chg="mod">
          <ac:chgData name="Clark, Connie" userId="73351e60-ad32-4085-a232-1d9f9b189479" providerId="ADAL" clId="{1712031B-0999-404D-92BA-B97253215D59}" dt="2021-02-11T21:36:05.733" v="473"/>
          <ac:cxnSpMkLst>
            <pc:docMk/>
            <pc:sldMk cId="3270792525" sldId="1273"/>
            <ac:cxnSpMk id="94" creationId="{DA1D1CB2-64F9-45C5-83B9-031571B13C1E}"/>
          </ac:cxnSpMkLst>
        </pc:cxnChg>
        <pc:cxnChg chg="mod">
          <ac:chgData name="Clark, Connie" userId="73351e60-ad32-4085-a232-1d9f9b189479" providerId="ADAL" clId="{1712031B-0999-404D-92BA-B97253215D59}" dt="2021-02-11T21:36:05.733" v="473"/>
          <ac:cxnSpMkLst>
            <pc:docMk/>
            <pc:sldMk cId="3270792525" sldId="1273"/>
            <ac:cxnSpMk id="95" creationId="{4ACE8504-2BDF-434F-A5AD-70A08A2306D4}"/>
          </ac:cxnSpMkLst>
        </pc:cxnChg>
        <pc:cxnChg chg="mod">
          <ac:chgData name="Clark, Connie" userId="73351e60-ad32-4085-a232-1d9f9b189479" providerId="ADAL" clId="{1712031B-0999-404D-92BA-B97253215D59}" dt="2021-02-11T21:36:05.733" v="473"/>
          <ac:cxnSpMkLst>
            <pc:docMk/>
            <pc:sldMk cId="3270792525" sldId="1273"/>
            <ac:cxnSpMk id="99" creationId="{28B26909-556A-4C58-9DDB-0CC1D80D5DC5}"/>
          </ac:cxnSpMkLst>
        </pc:cxnChg>
        <pc:cxnChg chg="mod">
          <ac:chgData name="Clark, Connie" userId="73351e60-ad32-4085-a232-1d9f9b189479" providerId="ADAL" clId="{1712031B-0999-404D-92BA-B97253215D59}" dt="2021-02-11T21:36:05.733" v="473"/>
          <ac:cxnSpMkLst>
            <pc:docMk/>
            <pc:sldMk cId="3270792525" sldId="1273"/>
            <ac:cxnSpMk id="103" creationId="{B4011096-6F66-4F1F-8B2B-DB527201F9D1}"/>
          </ac:cxnSpMkLst>
        </pc:cxnChg>
        <pc:cxnChg chg="mod">
          <ac:chgData name="Clark, Connie" userId="73351e60-ad32-4085-a232-1d9f9b189479" providerId="ADAL" clId="{1712031B-0999-404D-92BA-B97253215D59}" dt="2021-02-11T21:36:12.036" v="477"/>
          <ac:cxnSpMkLst>
            <pc:docMk/>
            <pc:sldMk cId="3270792525" sldId="1273"/>
            <ac:cxnSpMk id="121" creationId="{6DE248F1-0326-4FA0-9E90-E1A36941B204}"/>
          </ac:cxnSpMkLst>
        </pc:cxnChg>
        <pc:cxnChg chg="mod">
          <ac:chgData name="Clark, Connie" userId="73351e60-ad32-4085-a232-1d9f9b189479" providerId="ADAL" clId="{1712031B-0999-404D-92BA-B97253215D59}" dt="2021-02-11T21:36:12.036" v="477"/>
          <ac:cxnSpMkLst>
            <pc:docMk/>
            <pc:sldMk cId="3270792525" sldId="1273"/>
            <ac:cxnSpMk id="122" creationId="{FF32188F-6C43-470A-8514-B19C883344D4}"/>
          </ac:cxnSpMkLst>
        </pc:cxnChg>
        <pc:cxnChg chg="mod">
          <ac:chgData name="Clark, Connie" userId="73351e60-ad32-4085-a232-1d9f9b189479" providerId="ADAL" clId="{1712031B-0999-404D-92BA-B97253215D59}" dt="2021-02-11T21:36:12.036" v="477"/>
          <ac:cxnSpMkLst>
            <pc:docMk/>
            <pc:sldMk cId="3270792525" sldId="1273"/>
            <ac:cxnSpMk id="123" creationId="{EBDE31ED-2EB0-42DC-A11C-79F1EF70FACC}"/>
          </ac:cxnSpMkLst>
        </pc:cxnChg>
        <pc:cxnChg chg="mod">
          <ac:chgData name="Clark, Connie" userId="73351e60-ad32-4085-a232-1d9f9b189479" providerId="ADAL" clId="{1712031B-0999-404D-92BA-B97253215D59}" dt="2021-02-11T21:36:12.036" v="477"/>
          <ac:cxnSpMkLst>
            <pc:docMk/>
            <pc:sldMk cId="3270792525" sldId="1273"/>
            <ac:cxnSpMk id="124" creationId="{765B0C5A-168F-4238-972C-F44C268DC1BE}"/>
          </ac:cxnSpMkLst>
        </pc:cxnChg>
        <pc:cxnChg chg="mod">
          <ac:chgData name="Clark, Connie" userId="73351e60-ad32-4085-a232-1d9f9b189479" providerId="ADAL" clId="{1712031B-0999-404D-92BA-B97253215D59}" dt="2021-02-11T21:36:12.036" v="477"/>
          <ac:cxnSpMkLst>
            <pc:docMk/>
            <pc:sldMk cId="3270792525" sldId="1273"/>
            <ac:cxnSpMk id="125" creationId="{F0F90191-AD45-4663-B70F-021B91798C20}"/>
          </ac:cxnSpMkLst>
        </pc:cxnChg>
        <pc:cxnChg chg="mod">
          <ac:chgData name="Clark, Connie" userId="73351e60-ad32-4085-a232-1d9f9b189479" providerId="ADAL" clId="{1712031B-0999-404D-92BA-B97253215D59}" dt="2021-02-11T21:36:12.036" v="477"/>
          <ac:cxnSpMkLst>
            <pc:docMk/>
            <pc:sldMk cId="3270792525" sldId="1273"/>
            <ac:cxnSpMk id="129" creationId="{BB55207C-2378-4936-BA7C-4C1D4AC144AF}"/>
          </ac:cxnSpMkLst>
        </pc:cxnChg>
        <pc:cxnChg chg="mod">
          <ac:chgData name="Clark, Connie" userId="73351e60-ad32-4085-a232-1d9f9b189479" providerId="ADAL" clId="{1712031B-0999-404D-92BA-B97253215D59}" dt="2021-02-11T21:36:12.036" v="477"/>
          <ac:cxnSpMkLst>
            <pc:docMk/>
            <pc:sldMk cId="3270792525" sldId="1273"/>
            <ac:cxnSpMk id="133" creationId="{55B8E458-CA45-4115-9F6E-48A42213C193}"/>
          </ac:cxnSpMkLst>
        </pc:cxnChg>
        <pc:cxnChg chg="mod">
          <ac:chgData name="Clark, Connie" userId="73351e60-ad32-4085-a232-1d9f9b189479" providerId="ADAL" clId="{1712031B-0999-404D-92BA-B97253215D59}" dt="2021-02-11T21:36:56.583" v="504"/>
          <ac:cxnSpMkLst>
            <pc:docMk/>
            <pc:sldMk cId="3270792525" sldId="1273"/>
            <ac:cxnSpMk id="139" creationId="{4D28553B-5211-47F4-8943-216E10489BA8}"/>
          </ac:cxnSpMkLst>
        </pc:cxnChg>
        <pc:cxnChg chg="mod">
          <ac:chgData name="Clark, Connie" userId="73351e60-ad32-4085-a232-1d9f9b189479" providerId="ADAL" clId="{1712031B-0999-404D-92BA-B97253215D59}" dt="2021-02-11T21:36:56.583" v="504"/>
          <ac:cxnSpMkLst>
            <pc:docMk/>
            <pc:sldMk cId="3270792525" sldId="1273"/>
            <ac:cxnSpMk id="140" creationId="{07E239FA-15F4-42E0-BABD-6A49A8FDEEAE}"/>
          </ac:cxnSpMkLst>
        </pc:cxnChg>
        <pc:cxnChg chg="mod">
          <ac:chgData name="Clark, Connie" userId="73351e60-ad32-4085-a232-1d9f9b189479" providerId="ADAL" clId="{1712031B-0999-404D-92BA-B97253215D59}" dt="2021-02-11T22:12:42.216" v="823"/>
          <ac:cxnSpMkLst>
            <pc:docMk/>
            <pc:sldMk cId="3270792525" sldId="1273"/>
            <ac:cxnSpMk id="159" creationId="{D7CA3ED4-A512-4DE2-9328-AFAED2199834}"/>
          </ac:cxnSpMkLst>
        </pc:cxnChg>
        <pc:cxnChg chg="mod">
          <ac:chgData name="Clark, Connie" userId="73351e60-ad32-4085-a232-1d9f9b189479" providerId="ADAL" clId="{1712031B-0999-404D-92BA-B97253215D59}" dt="2021-02-11T22:12:42.216" v="823"/>
          <ac:cxnSpMkLst>
            <pc:docMk/>
            <pc:sldMk cId="3270792525" sldId="1273"/>
            <ac:cxnSpMk id="160" creationId="{79908B75-48BA-4C4A-B073-AC7CE153283A}"/>
          </ac:cxnSpMkLst>
        </pc:cxnChg>
        <pc:cxnChg chg="mod">
          <ac:chgData name="Clark, Connie" userId="73351e60-ad32-4085-a232-1d9f9b189479" providerId="ADAL" clId="{1712031B-0999-404D-92BA-B97253215D59}" dt="2021-02-11T22:12:42.216" v="823"/>
          <ac:cxnSpMkLst>
            <pc:docMk/>
            <pc:sldMk cId="3270792525" sldId="1273"/>
            <ac:cxnSpMk id="161" creationId="{618E79D1-9077-4E6A-96CF-CF16F35F4B81}"/>
          </ac:cxnSpMkLst>
        </pc:cxnChg>
        <pc:cxnChg chg="mod">
          <ac:chgData name="Clark, Connie" userId="73351e60-ad32-4085-a232-1d9f9b189479" providerId="ADAL" clId="{1712031B-0999-404D-92BA-B97253215D59}" dt="2021-02-11T22:12:42.216" v="823"/>
          <ac:cxnSpMkLst>
            <pc:docMk/>
            <pc:sldMk cId="3270792525" sldId="1273"/>
            <ac:cxnSpMk id="162" creationId="{A3EF1253-C557-4437-B7BE-DAF7D3BDD4B1}"/>
          </ac:cxnSpMkLst>
        </pc:cxnChg>
        <pc:cxnChg chg="mod">
          <ac:chgData name="Clark, Connie" userId="73351e60-ad32-4085-a232-1d9f9b189479" providerId="ADAL" clId="{1712031B-0999-404D-92BA-B97253215D59}" dt="2021-02-11T22:12:42.216" v="823"/>
          <ac:cxnSpMkLst>
            <pc:docMk/>
            <pc:sldMk cId="3270792525" sldId="1273"/>
            <ac:cxnSpMk id="163" creationId="{1C1B5F58-0306-4D7E-B0E1-4CE18D75324E}"/>
          </ac:cxnSpMkLst>
        </pc:cxnChg>
        <pc:cxnChg chg="mod">
          <ac:chgData name="Clark, Connie" userId="73351e60-ad32-4085-a232-1d9f9b189479" providerId="ADAL" clId="{1712031B-0999-404D-92BA-B97253215D59}" dt="2021-02-11T22:13:33.042" v="842"/>
          <ac:cxnSpMkLst>
            <pc:docMk/>
            <pc:sldMk cId="3270792525" sldId="1273"/>
            <ac:cxnSpMk id="167" creationId="{886BA02A-2843-4324-92EA-814301CBDB63}"/>
          </ac:cxnSpMkLst>
        </pc:cxnChg>
        <pc:cxnChg chg="mod">
          <ac:chgData name="Clark, Connie" userId="73351e60-ad32-4085-a232-1d9f9b189479" providerId="ADAL" clId="{1712031B-0999-404D-92BA-B97253215D59}" dt="2021-02-11T22:14:02.073" v="851"/>
          <ac:cxnSpMkLst>
            <pc:docMk/>
            <pc:sldMk cId="3270792525" sldId="1273"/>
            <ac:cxnSpMk id="171" creationId="{6DF56469-A152-4B73-937E-3F4AA821AB0D}"/>
          </ac:cxnSpMkLst>
        </pc:cxnChg>
        <pc:cxnChg chg="add mod">
          <ac:chgData name="Clark, Connie" userId="73351e60-ad32-4085-a232-1d9f9b189479" providerId="ADAL" clId="{1712031B-0999-404D-92BA-B97253215D59}" dt="2021-02-11T22:02:33.492" v="606" actId="1036"/>
          <ac:cxnSpMkLst>
            <pc:docMk/>
            <pc:sldMk cId="3270792525" sldId="1273"/>
            <ac:cxnSpMk id="176" creationId="{46BA4E78-1AB8-4493-A5D8-DC262486BB2D}"/>
          </ac:cxnSpMkLst>
        </pc:cxnChg>
        <pc:cxnChg chg="add mod">
          <ac:chgData name="Clark, Connie" userId="73351e60-ad32-4085-a232-1d9f9b189479" providerId="ADAL" clId="{1712031B-0999-404D-92BA-B97253215D59}" dt="2021-02-11T22:02:33.492" v="606" actId="1036"/>
          <ac:cxnSpMkLst>
            <pc:docMk/>
            <pc:sldMk cId="3270792525" sldId="1273"/>
            <ac:cxnSpMk id="177" creationId="{0D144B6B-7A4D-4371-B213-1E9283F7448A}"/>
          </ac:cxnSpMkLst>
        </pc:cxnChg>
        <pc:cxnChg chg="mod">
          <ac:chgData name="Clark, Connie" userId="73351e60-ad32-4085-a232-1d9f9b189479" providerId="ADAL" clId="{1712031B-0999-404D-92BA-B97253215D59}" dt="2021-02-11T22:02:27.420" v="585"/>
          <ac:cxnSpMkLst>
            <pc:docMk/>
            <pc:sldMk cId="3270792525" sldId="1273"/>
            <ac:cxnSpMk id="183" creationId="{B8D1B88D-07AE-46FA-9F93-BA962E851259}"/>
          </ac:cxnSpMkLst>
        </pc:cxnChg>
        <pc:cxnChg chg="add mod">
          <ac:chgData name="Clark, Connie" userId="73351e60-ad32-4085-a232-1d9f9b189479" providerId="ADAL" clId="{1712031B-0999-404D-92BA-B97253215D59}" dt="2021-02-11T22:02:33.492" v="606" actId="1036"/>
          <ac:cxnSpMkLst>
            <pc:docMk/>
            <pc:sldMk cId="3270792525" sldId="1273"/>
            <ac:cxnSpMk id="189" creationId="{EAED11CE-5D92-47B4-9F44-553D3CDF9B89}"/>
          </ac:cxnSpMkLst>
        </pc:cxnChg>
        <pc:cxnChg chg="add mod">
          <ac:chgData name="Clark, Connie" userId="73351e60-ad32-4085-a232-1d9f9b189479" providerId="ADAL" clId="{1712031B-0999-404D-92BA-B97253215D59}" dt="2021-02-11T22:02:33.492" v="606" actId="1036"/>
          <ac:cxnSpMkLst>
            <pc:docMk/>
            <pc:sldMk cId="3270792525" sldId="1273"/>
            <ac:cxnSpMk id="190" creationId="{A6D18665-D451-4411-B6E5-DC117512628F}"/>
          </ac:cxnSpMkLst>
        </pc:cxnChg>
        <pc:cxnChg chg="add mod">
          <ac:chgData name="Clark, Connie" userId="73351e60-ad32-4085-a232-1d9f9b189479" providerId="ADAL" clId="{1712031B-0999-404D-92BA-B97253215D59}" dt="2021-02-11T22:02:33.492" v="606" actId="1036"/>
          <ac:cxnSpMkLst>
            <pc:docMk/>
            <pc:sldMk cId="3270792525" sldId="1273"/>
            <ac:cxnSpMk id="191" creationId="{BA318949-D7DA-4F1B-8AA1-207D0D9263A3}"/>
          </ac:cxnSpMkLst>
        </pc:cxnChg>
      </pc:sldChg>
      <pc:sldChg chg="add">
        <pc:chgData name="Clark, Connie" userId="73351e60-ad32-4085-a232-1d9f9b189479" providerId="ADAL" clId="{1712031B-0999-404D-92BA-B97253215D59}" dt="2021-02-11T21:48:28.605" v="524"/>
        <pc:sldMkLst>
          <pc:docMk/>
          <pc:sldMk cId="1770139952" sldId="1274"/>
        </pc:sldMkLst>
      </pc:sldChg>
      <pc:sldMasterChg chg="delSldLayout">
        <pc:chgData name="Clark, Connie" userId="73351e60-ad32-4085-a232-1d9f9b189479" providerId="ADAL" clId="{1712031B-0999-404D-92BA-B97253215D59}" dt="2021-02-11T22:49:21.130" v="894" actId="47"/>
        <pc:sldMasterMkLst>
          <pc:docMk/>
          <pc:sldMasterMk cId="1323085708" sldId="2147483699"/>
        </pc:sldMasterMkLst>
        <pc:sldLayoutChg chg="del">
          <pc:chgData name="Clark, Connie" userId="73351e60-ad32-4085-a232-1d9f9b189479" providerId="ADAL" clId="{1712031B-0999-404D-92BA-B97253215D59}" dt="2021-02-11T22:49:21.130" v="894" actId="47"/>
          <pc:sldLayoutMkLst>
            <pc:docMk/>
            <pc:sldMasterMk cId="1323085708" sldId="2147483699"/>
            <pc:sldLayoutMk cId="1138990641" sldId="2147483722"/>
          </pc:sldLayoutMkLst>
        </pc:sldLayoutChg>
      </pc:sldMasterChg>
    </pc:docChg>
  </pc:docChgLst>
  <pc:docChgLst>
    <pc:chgData name="Clark, Connie" userId="73351e60-ad32-4085-a232-1d9f9b189479" providerId="ADAL" clId="{4CEE8591-7FDC-43B2-AF7D-B7F2B355137B}"/>
    <pc:docChg chg="modSld">
      <pc:chgData name="Clark, Connie" userId="73351e60-ad32-4085-a232-1d9f9b189479" providerId="ADAL" clId="{4CEE8591-7FDC-43B2-AF7D-B7F2B355137B}" dt="2022-06-09T19:57:33.529" v="3" actId="20577"/>
      <pc:docMkLst>
        <pc:docMk/>
      </pc:docMkLst>
      <pc:sldChg chg="modSp mod">
        <pc:chgData name="Clark, Connie" userId="73351e60-ad32-4085-a232-1d9f9b189479" providerId="ADAL" clId="{4CEE8591-7FDC-43B2-AF7D-B7F2B355137B}" dt="2022-06-09T19:57:33.529" v="3" actId="20577"/>
        <pc:sldMkLst>
          <pc:docMk/>
          <pc:sldMk cId="3287457382" sldId="896"/>
        </pc:sldMkLst>
        <pc:spChg chg="mod">
          <ac:chgData name="Clark, Connie" userId="73351e60-ad32-4085-a232-1d9f9b189479" providerId="ADAL" clId="{4CEE8591-7FDC-43B2-AF7D-B7F2B355137B}" dt="2022-06-09T19:57:33.529" v="3" actId="20577"/>
          <ac:spMkLst>
            <pc:docMk/>
            <pc:sldMk cId="3287457382" sldId="896"/>
            <ac:spMk id="7" creationId="{B727CFFD-FBB7-4F08-85FF-BBEFDEE695C8}"/>
          </ac:spMkLst>
        </pc:spChg>
      </pc:sldChg>
      <pc:sldChg chg="modSp mod">
        <pc:chgData name="Clark, Connie" userId="73351e60-ad32-4085-a232-1d9f9b189479" providerId="ADAL" clId="{4CEE8591-7FDC-43B2-AF7D-B7F2B355137B}" dt="2022-06-09T19:56:00.170" v="0" actId="20577"/>
        <pc:sldMkLst>
          <pc:docMk/>
          <pc:sldMk cId="3158671175" sldId="1275"/>
        </pc:sldMkLst>
        <pc:spChg chg="mod">
          <ac:chgData name="Clark, Connie" userId="73351e60-ad32-4085-a232-1d9f9b189479" providerId="ADAL" clId="{4CEE8591-7FDC-43B2-AF7D-B7F2B355137B}" dt="2022-06-09T19:56:00.170" v="0" actId="20577"/>
          <ac:spMkLst>
            <pc:docMk/>
            <pc:sldMk cId="3158671175" sldId="1275"/>
            <ac:spMk id="2" creationId="{3548570C-A5FD-4AAA-BFBE-D50889DC9130}"/>
          </ac:spMkLst>
        </pc:spChg>
      </pc:sldChg>
    </pc:docChg>
  </pc:docChgLst>
  <pc:docChgLst>
    <pc:chgData name="Clark, Connie" userId="73351e60-ad32-4085-a232-1d9f9b189479" providerId="ADAL" clId="{F23DC5E7-D1D5-494C-8ED8-EA682A8ABCB7}"/>
    <pc:docChg chg="addSld delSld modSld">
      <pc:chgData name="Clark, Connie" userId="73351e60-ad32-4085-a232-1d9f9b189479" providerId="ADAL" clId="{F23DC5E7-D1D5-494C-8ED8-EA682A8ABCB7}" dt="2022-04-28T13:13:51.786" v="4" actId="47"/>
      <pc:docMkLst>
        <pc:docMk/>
      </pc:docMkLst>
      <pc:sldChg chg="del">
        <pc:chgData name="Clark, Connie" userId="73351e60-ad32-4085-a232-1d9f9b189479" providerId="ADAL" clId="{F23DC5E7-D1D5-494C-8ED8-EA682A8ABCB7}" dt="2022-04-28T13:13:48.463" v="3" actId="47"/>
        <pc:sldMkLst>
          <pc:docMk/>
          <pc:sldMk cId="665348256" sldId="1267"/>
        </pc:sldMkLst>
      </pc:sldChg>
      <pc:sldChg chg="del">
        <pc:chgData name="Clark, Connie" userId="73351e60-ad32-4085-a232-1d9f9b189479" providerId="ADAL" clId="{F23DC5E7-D1D5-494C-8ED8-EA682A8ABCB7}" dt="2022-04-28T13:13:51.786" v="4" actId="47"/>
        <pc:sldMkLst>
          <pc:docMk/>
          <pc:sldMk cId="378968893" sldId="1272"/>
        </pc:sldMkLst>
      </pc:sldChg>
      <pc:sldChg chg="add del">
        <pc:chgData name="Clark, Connie" userId="73351e60-ad32-4085-a232-1d9f9b189479" providerId="ADAL" clId="{F23DC5E7-D1D5-494C-8ED8-EA682A8ABCB7}" dt="2022-04-28T13:13:38.835" v="1"/>
        <pc:sldMkLst>
          <pc:docMk/>
          <pc:sldMk cId="896498082" sldId="1275"/>
        </pc:sldMkLst>
      </pc:sldChg>
      <pc:sldChg chg="add">
        <pc:chgData name="Clark, Connie" userId="73351e60-ad32-4085-a232-1d9f9b189479" providerId="ADAL" clId="{F23DC5E7-D1D5-494C-8ED8-EA682A8ABCB7}" dt="2022-04-28T13:13:38.920" v="2"/>
        <pc:sldMkLst>
          <pc:docMk/>
          <pc:sldMk cId="3158671175" sldId="1275"/>
        </pc:sldMkLst>
      </pc:sldChg>
      <pc:sldChg chg="add del">
        <pc:chgData name="Clark, Connie" userId="73351e60-ad32-4085-a232-1d9f9b189479" providerId="ADAL" clId="{F23DC5E7-D1D5-494C-8ED8-EA682A8ABCB7}" dt="2022-04-28T13:13:38.920" v="2"/>
        <pc:sldMkLst>
          <pc:docMk/>
          <pc:sldMk cId="3281487269" sldId="174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8B385D-226B-4CA7-857F-4A9931969A46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80636E0-4DFC-483E-98A7-8AC2D77C9171}">
      <dgm:prSet phldrT="[Texto]" custT="1"/>
      <dgm:spPr>
        <a:solidFill>
          <a:schemeClr val="accent6">
            <a:lumMod val="5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  <a:latin typeface="Arial" panose="020B0604020202020204"/>
              <a:ea typeface="+mn-ea"/>
              <a:cs typeface="+mn-cs"/>
            </a:rPr>
            <a:t>Management Processes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</dgm:t>
    </dgm:pt>
    <dgm:pt modelId="{1FA6BA24-AB44-4FED-A321-EABD51B2C63D}" type="parTrans" cxnId="{F978C9A3-6004-4511-9241-BEDD09758CA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B31F5E23-729D-4CA7-AA35-4CAB4B17C284}" type="sibTrans" cxnId="{F978C9A3-6004-4511-9241-BEDD09758CA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E60CF393-2C05-43A7-A3C6-92A378C3FDB9}">
      <dgm:prSet phldrT="[Texto]" custT="1"/>
      <dgm:spPr>
        <a:solidFill>
          <a:srgbClr val="33D196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Inbound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es</a:t>
          </a:r>
        </a:p>
      </dgm:t>
    </dgm:pt>
    <dgm:pt modelId="{90CD1A99-13CB-4967-BCA5-BEF1FEEC74CE}" type="parTrans" cxnId="{4025CD40-D776-42F6-8AF2-55D5A23327DD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F5F7C137-D583-494A-9E6A-30D8E5AEFC01}" type="sibTrans" cxnId="{4025CD40-D776-42F6-8AF2-55D5A23327DD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EFDF1281-0375-4BD9-9428-E00DDF603C47}">
      <dgm:prSet phldrT="[Texto]" custT="1"/>
      <dgm:spPr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accent4">
              <a:lumMod val="60000"/>
              <a:lumOff val="40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Storage Processes &amp; other states</a:t>
          </a:r>
        </a:p>
      </dgm:t>
    </dgm:pt>
    <dgm:pt modelId="{1B736DD6-BA58-4D2C-9286-AE9ADAA0DA90}" type="parTrans" cxnId="{3220613E-B203-4F0A-8564-7A4FA5187E9B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A89E790-3C43-408B-B0F4-6551F03D7F60}" type="sibTrans" cxnId="{3220613E-B203-4F0A-8564-7A4FA5187E9B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444F08C1-027E-42E4-BDF7-B851502F3A98}">
      <dgm:prSet phldrT="[Texto]" custT="1"/>
      <dgm:spPr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Out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es</a:t>
          </a:r>
        </a:p>
      </dgm:t>
    </dgm:pt>
    <dgm:pt modelId="{49096717-96B7-4685-904B-A8653D6C97CD}" type="parTrans" cxnId="{DA5A85E8-F161-4902-90E3-0E48AA5838EC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25E84F77-8B57-43EB-AC35-588751F9FBCA}" type="sibTrans" cxnId="{DA5A85E8-F161-4902-90E3-0E48AA5838EC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0EBD1A3-70A2-4DB8-8D62-414492D966F6}" type="pres">
      <dgm:prSet presAssocID="{678B385D-226B-4CA7-857F-4A9931969A46}" presName="compositeShape" presStyleCnt="0">
        <dgm:presLayoutVars>
          <dgm:chMax val="9"/>
          <dgm:dir/>
          <dgm:resizeHandles val="exact"/>
        </dgm:presLayoutVars>
      </dgm:prSet>
      <dgm:spPr/>
    </dgm:pt>
    <dgm:pt modelId="{E930FFF3-CF03-40C7-A503-5889ECAA1568}" type="pres">
      <dgm:prSet presAssocID="{678B385D-226B-4CA7-857F-4A9931969A46}" presName="triangle1" presStyleLbl="node1" presStyleIdx="0" presStyleCnt="4">
        <dgm:presLayoutVars>
          <dgm:bulletEnabled val="1"/>
        </dgm:presLayoutVars>
      </dgm:prSet>
      <dgm:spPr>
        <a:xfrm>
          <a:off x="5449205" y="0"/>
          <a:ext cx="2656303" cy="2656303"/>
        </a:xfrm>
        <a:prstGeom prst="triangle">
          <a:avLst/>
        </a:prstGeom>
      </dgm:spPr>
    </dgm:pt>
    <dgm:pt modelId="{AF7830E6-7326-4ECB-9913-E23CC573A1B3}" type="pres">
      <dgm:prSet presAssocID="{678B385D-226B-4CA7-857F-4A9931969A46}" presName="triangle2" presStyleLbl="node1" presStyleIdx="1" presStyleCnt="4">
        <dgm:presLayoutVars>
          <dgm:bulletEnabled val="1"/>
        </dgm:presLayoutVars>
      </dgm:prSet>
      <dgm:spPr>
        <a:xfrm>
          <a:off x="4121053" y="2656303"/>
          <a:ext cx="2656303" cy="2656303"/>
        </a:xfrm>
        <a:prstGeom prst="triangle">
          <a:avLst/>
        </a:prstGeom>
      </dgm:spPr>
    </dgm:pt>
    <dgm:pt modelId="{E49DFCEF-BEC5-4C49-8798-D034FD12E709}" type="pres">
      <dgm:prSet presAssocID="{678B385D-226B-4CA7-857F-4A9931969A46}" presName="triangle3" presStyleLbl="node1" presStyleIdx="2" presStyleCnt="4">
        <dgm:presLayoutVars>
          <dgm:bulletEnabled val="1"/>
        </dgm:presLayoutVars>
      </dgm:prSet>
      <dgm:spPr>
        <a:xfrm rot="10800000">
          <a:off x="5449205" y="2656303"/>
          <a:ext cx="2656303" cy="2656303"/>
        </a:xfrm>
        <a:prstGeom prst="triangle">
          <a:avLst/>
        </a:prstGeom>
      </dgm:spPr>
    </dgm:pt>
    <dgm:pt modelId="{BAB71A2E-3E41-499D-9E6A-CDE125F77BF9}" type="pres">
      <dgm:prSet presAssocID="{678B385D-226B-4CA7-857F-4A9931969A46}" presName="triangle4" presStyleLbl="node1" presStyleIdx="3" presStyleCnt="4">
        <dgm:presLayoutVars>
          <dgm:bulletEnabled val="1"/>
        </dgm:presLayoutVars>
      </dgm:prSet>
      <dgm:spPr>
        <a:xfrm>
          <a:off x="6777357" y="2656303"/>
          <a:ext cx="2656303" cy="2656303"/>
        </a:xfrm>
        <a:prstGeom prst="triangle">
          <a:avLst/>
        </a:prstGeom>
      </dgm:spPr>
    </dgm:pt>
  </dgm:ptLst>
  <dgm:cxnLst>
    <dgm:cxn modelId="{3220613E-B203-4F0A-8564-7A4FA5187E9B}" srcId="{678B385D-226B-4CA7-857F-4A9931969A46}" destId="{EFDF1281-0375-4BD9-9428-E00DDF603C47}" srcOrd="2" destOrd="0" parTransId="{1B736DD6-BA58-4D2C-9286-AE9ADAA0DA90}" sibTransId="{5A89E790-3C43-408B-B0F4-6551F03D7F60}"/>
    <dgm:cxn modelId="{4025CD40-D776-42F6-8AF2-55D5A23327DD}" srcId="{678B385D-226B-4CA7-857F-4A9931969A46}" destId="{E60CF393-2C05-43A7-A3C6-92A378C3FDB9}" srcOrd="1" destOrd="0" parTransId="{90CD1A99-13CB-4967-BCA5-BEF1FEEC74CE}" sibTransId="{F5F7C137-D583-494A-9E6A-30D8E5AEFC01}"/>
    <dgm:cxn modelId="{5EC1A986-4893-44C9-9AE8-572134702FD7}" type="presOf" srcId="{EFDF1281-0375-4BD9-9428-E00DDF603C47}" destId="{E49DFCEF-BEC5-4C49-8798-D034FD12E709}" srcOrd="0" destOrd="0" presId="urn:microsoft.com/office/officeart/2005/8/layout/pyramid4"/>
    <dgm:cxn modelId="{06526C93-089D-4F1B-869A-1B3A12B1DC5B}" type="presOf" srcId="{480636E0-4DFC-483E-98A7-8AC2D77C9171}" destId="{E930FFF3-CF03-40C7-A503-5889ECAA1568}" srcOrd="0" destOrd="0" presId="urn:microsoft.com/office/officeart/2005/8/layout/pyramid4"/>
    <dgm:cxn modelId="{31E2CC9A-5AB3-41C5-9CF0-C39A7EA60929}" type="presOf" srcId="{444F08C1-027E-42E4-BDF7-B851502F3A98}" destId="{BAB71A2E-3E41-499D-9E6A-CDE125F77BF9}" srcOrd="0" destOrd="0" presId="urn:microsoft.com/office/officeart/2005/8/layout/pyramid4"/>
    <dgm:cxn modelId="{F978C9A3-6004-4511-9241-BEDD09758CA5}" srcId="{678B385D-226B-4CA7-857F-4A9931969A46}" destId="{480636E0-4DFC-483E-98A7-8AC2D77C9171}" srcOrd="0" destOrd="0" parTransId="{1FA6BA24-AB44-4FED-A321-EABD51B2C63D}" sibTransId="{B31F5E23-729D-4CA7-AA35-4CAB4B17C284}"/>
    <dgm:cxn modelId="{DBC6E2A6-17C8-4402-BF25-E206B57C4EB2}" type="presOf" srcId="{E60CF393-2C05-43A7-A3C6-92A378C3FDB9}" destId="{AF7830E6-7326-4ECB-9913-E23CC573A1B3}" srcOrd="0" destOrd="0" presId="urn:microsoft.com/office/officeart/2005/8/layout/pyramid4"/>
    <dgm:cxn modelId="{DA5A85E8-F161-4902-90E3-0E48AA5838EC}" srcId="{678B385D-226B-4CA7-857F-4A9931969A46}" destId="{444F08C1-027E-42E4-BDF7-B851502F3A98}" srcOrd="3" destOrd="0" parTransId="{49096717-96B7-4685-904B-A8653D6C97CD}" sibTransId="{25E84F77-8B57-43EB-AC35-588751F9FBCA}"/>
    <dgm:cxn modelId="{7664F4FD-52D6-4019-B884-3C0D5A3CF3E1}" type="presOf" srcId="{678B385D-226B-4CA7-857F-4A9931969A46}" destId="{50EBD1A3-70A2-4DB8-8D62-414492D966F6}" srcOrd="0" destOrd="0" presId="urn:microsoft.com/office/officeart/2005/8/layout/pyramid4"/>
    <dgm:cxn modelId="{81C4AF67-9E55-4D69-A2E6-0F79CB771F3D}" type="presParOf" srcId="{50EBD1A3-70A2-4DB8-8D62-414492D966F6}" destId="{E930FFF3-CF03-40C7-A503-5889ECAA1568}" srcOrd="0" destOrd="0" presId="urn:microsoft.com/office/officeart/2005/8/layout/pyramid4"/>
    <dgm:cxn modelId="{60616C0B-1D33-4B8D-B1C3-681157C77E7D}" type="presParOf" srcId="{50EBD1A3-70A2-4DB8-8D62-414492D966F6}" destId="{AF7830E6-7326-4ECB-9913-E23CC573A1B3}" srcOrd="1" destOrd="0" presId="urn:microsoft.com/office/officeart/2005/8/layout/pyramid4"/>
    <dgm:cxn modelId="{A2854B7C-5AE4-4CDF-A488-69B23A85C450}" type="presParOf" srcId="{50EBD1A3-70A2-4DB8-8D62-414492D966F6}" destId="{E49DFCEF-BEC5-4C49-8798-D034FD12E709}" srcOrd="2" destOrd="0" presId="urn:microsoft.com/office/officeart/2005/8/layout/pyramid4"/>
    <dgm:cxn modelId="{B8E634CA-C616-4C7F-805F-317C93CE2C9A}" type="presParOf" srcId="{50EBD1A3-70A2-4DB8-8D62-414492D966F6}" destId="{BAB71A2E-3E41-499D-9E6A-CDE125F77BF9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30FFF3-CF03-40C7-A503-5889ECAA1568}">
      <dsp:nvSpPr>
        <dsp:cNvPr id="0" name=""/>
        <dsp:cNvSpPr/>
      </dsp:nvSpPr>
      <dsp:spPr>
        <a:xfrm>
          <a:off x="5672223" y="0"/>
          <a:ext cx="1998576" cy="1998576"/>
        </a:xfrm>
        <a:prstGeom prst="triangle">
          <a:avLst/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  <a:latin typeface="Arial" panose="020B0604020202020204"/>
              <a:ea typeface="+mn-ea"/>
              <a:cs typeface="+mn-cs"/>
            </a:rPr>
            <a:t>Management Processe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</dsp:txBody>
      <dsp:txXfrm>
        <a:off x="6171867" y="999288"/>
        <a:ext cx="999288" cy="999288"/>
      </dsp:txXfrm>
    </dsp:sp>
    <dsp:sp modelId="{AF7830E6-7326-4ECB-9913-E23CC573A1B3}">
      <dsp:nvSpPr>
        <dsp:cNvPr id="0" name=""/>
        <dsp:cNvSpPr/>
      </dsp:nvSpPr>
      <dsp:spPr>
        <a:xfrm>
          <a:off x="4672935" y="1998576"/>
          <a:ext cx="1998576" cy="1998576"/>
        </a:xfrm>
        <a:prstGeom prst="triangle">
          <a:avLst/>
        </a:prstGeom>
        <a:solidFill>
          <a:srgbClr val="33D196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In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es</a:t>
          </a:r>
        </a:p>
      </dsp:txBody>
      <dsp:txXfrm>
        <a:off x="5172579" y="2997864"/>
        <a:ext cx="999288" cy="999288"/>
      </dsp:txXfrm>
    </dsp:sp>
    <dsp:sp modelId="{E49DFCEF-BEC5-4C49-8798-D034FD12E709}">
      <dsp:nvSpPr>
        <dsp:cNvPr id="0" name=""/>
        <dsp:cNvSpPr/>
      </dsp:nvSpPr>
      <dsp:spPr>
        <a:xfrm rot="10800000">
          <a:off x="5672223" y="1998576"/>
          <a:ext cx="1998576" cy="1998576"/>
        </a:xfrm>
        <a:prstGeom prst="triangle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accent4">
              <a:lumMod val="60000"/>
              <a:lumOff val="40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Storage Processes &amp; other states</a:t>
          </a:r>
        </a:p>
      </dsp:txBody>
      <dsp:txXfrm rot="10800000">
        <a:off x="6171867" y="1998576"/>
        <a:ext cx="999288" cy="999288"/>
      </dsp:txXfrm>
    </dsp:sp>
    <dsp:sp modelId="{BAB71A2E-3E41-499D-9E6A-CDE125F77BF9}">
      <dsp:nvSpPr>
        <dsp:cNvPr id="0" name=""/>
        <dsp:cNvSpPr/>
      </dsp:nvSpPr>
      <dsp:spPr>
        <a:xfrm>
          <a:off x="6671511" y="1998576"/>
          <a:ext cx="1998576" cy="1998576"/>
        </a:xfrm>
        <a:prstGeom prst="triangle">
          <a:avLst/>
        </a:prstGeom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Out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es</a:t>
          </a:r>
        </a:p>
      </dsp:txBody>
      <dsp:txXfrm>
        <a:off x="7171155" y="2997864"/>
        <a:ext cx="999288" cy="9992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8339D-CE38-4C21-AD69-905C6B15150D}" type="datetimeFigureOut">
              <a:rPr lang="es-AR" smtClean="0"/>
              <a:t>9/6/2022</a:t>
            </a:fld>
            <a:endParaRPr lang="es-A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D46BAB-EB96-49FE-8FD9-19BCEB2B3A8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081163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880FD3-CD2A-8C4E-B84F-94E080745D4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624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2739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F708A1-BFE5-402D-827F-D629B3CE82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7074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132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749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197790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606396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986418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761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54208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yboo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8725" y="1324610"/>
            <a:ext cx="11142556" cy="4710748"/>
          </a:xfrm>
        </p:spPr>
        <p:txBody>
          <a:bodyPr/>
          <a:lstStyle>
            <a:lvl2pPr marL="358775" indent="-176213">
              <a:buFont typeface="Arial" panose="020B0604020202020204" pitchFamily="34" charset="0"/>
              <a:buChar char="-"/>
              <a:tabLst>
                <a:tab pos="358775" algn="l"/>
              </a:tabLst>
              <a:defRPr sz="1800"/>
            </a:lvl2pPr>
            <a:lvl3pPr marL="541338" indent="-182563">
              <a:defRPr sz="1600"/>
            </a:lvl3pPr>
            <a:lvl4pPr marL="715963" indent="-174625">
              <a:defRPr sz="1600"/>
            </a:lvl4pPr>
            <a:lvl5pPr marL="898525" indent="-18256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6" name="Titl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19183" y="6492240"/>
            <a:ext cx="487680" cy="27432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ctr">
              <a:defRPr sz="9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8C9EFAC-D52E-4ABF-945B-836139D00783}" type="slidenum">
              <a:rPr lang="en-AU" kern="0" smtClean="0">
                <a:solidFill>
                  <a:srgbClr val="C25327"/>
                </a:solidFill>
              </a:rPr>
              <a:pPr>
                <a:defRPr/>
              </a:pPr>
              <a:t>‹Nº›</a:t>
            </a:fld>
            <a:endParaRPr lang="en-AU" kern="0" dirty="0">
              <a:solidFill>
                <a:srgbClr val="C25327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5757" y="0"/>
            <a:ext cx="11826243" cy="228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900" baseline="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en-US" dirty="0">
                <a:latin typeface="Arial"/>
                <a:cs typeface="Arial"/>
              </a:rPr>
              <a:t>Leadership Playbook   			      1. Purpose</a:t>
            </a:r>
          </a:p>
        </p:txBody>
      </p:sp>
    </p:spTree>
    <p:extLst>
      <p:ext uri="{BB962C8B-B14F-4D97-AF65-F5344CB8AC3E}">
        <p14:creationId xmlns:p14="http://schemas.microsoft.com/office/powerpoint/2010/main" val="111344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57671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71273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604997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442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8798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31694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35316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94038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8635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38797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2109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63364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C19AC2-94A0-46E3-BDDE-FB1B5E35C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54DE4E6-20D3-4295-81E0-8EB0295AAF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06D592-A0A4-42A3-A1FC-4C3D2E057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8E7FE2F-51F5-427B-A63C-EE232B78A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5A9700-4BCB-4624-A7DD-5340E8467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820077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B7CE68-09DA-4698-93FA-36B98981A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43AD844-4E14-4D58-8B77-DF6AE0ECB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17DE40B-BF37-4EF0-8AC4-9D2C0743F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28C21E-3F6F-4B83-8F2B-2ADA1FE89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1F976D-E004-44EA-A02A-39D0ABBA4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329062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131A98-39B0-4A70-8E34-54F615A58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1C419B8-0450-485D-B747-31FD5EE3A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7B0039E-3177-4AEA-8556-C6B5A0F7E4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4E3EBC1-933D-4B0F-8BD7-A78267B0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E50517-3C99-45F5-A58C-5081457F9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85546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6DD583-A87A-4C11-A465-FB470AA7B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EBFB355-0CC9-4669-86F8-446EE0A44D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A4C5696-EE2B-466F-AD1E-20BF4DDE53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082DEAB-753E-4B96-857B-A5F52822E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7540C8-2765-4E2B-A2FC-FA4238BCA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BDA55DA-2D5E-49DD-BE9E-83616672D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1316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766372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4CE06F-722D-4DE3-BF23-A16E218F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4ABD602-7887-49E2-B420-88E4F2298D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5BC9D9-19D2-45BE-BF59-4A1B37D64A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E0EA0A7-5751-42C4-99BA-F3C025A7FD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B008C95-8CE6-4472-997E-8DFF9B842A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252E926-4B7A-40D2-B760-06C074AF1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B07A2F7-BA06-4221-9350-AF735F331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05DD545-1630-4D47-A47D-546735CAE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745409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F33D10-5C45-47F5-AAFF-ACA2A102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1758764-E2BB-4082-9A9F-C6A6AF200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0DACB40-79B6-4D18-92E9-2F80630D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7E9EF8A-373C-4B77-8AA9-D0C868380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851215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8A98F7F-DE9D-4022-A2BB-2146A0A3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A2D3D89-C828-4EF5-B7D2-B7670B0CF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77264F7-6FAC-4EC6-B131-026BF2E8E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549802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C22E03-2F48-4C91-B919-848F1003B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8228C-7D1C-4B68-A1A4-4E9531317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C19DA7-5239-4461-B253-6749C3D42D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8A06EF9-368B-4EF4-9A12-8147E4E1B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1485D1F-932E-4163-90E9-421A7C29D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18BF014-CC75-4DEE-AA9F-706CC1DB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623349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1936C34-DCE4-446D-A105-EF182B795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30FB3AD-83F2-494E-87EF-47F3877930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98D57D9-D114-442A-A83F-B517DD1780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FD0395-EDF2-4FE7-BA68-1F699E7C6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CCB6F54-39C9-447E-9D5F-F077AAE36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4D455A4-3B10-4877-AFA3-503E06480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277529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4FEB1D-AF7B-4738-9FAE-E6E15453E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82FFB72-4BF0-4424-8677-3CCAE1B5CC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5AABC09-20F9-4E4A-B6A7-49A5E5EE1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48EB4EB-80CB-4773-AF7C-D771B53E9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80C98CC-44AD-4861-8161-D9752A7DA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38383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8623B0A-240B-42D1-BE58-2EFC3F09D6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06B46B1-3B1A-4089-A405-CB0129410B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9E2932-7017-4895-A2AB-FAC206197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21E60E-BB72-4308-930E-69D146B8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5AC209D-56CB-47EE-9D0E-066E8BECC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061398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1" y="274639"/>
            <a:ext cx="9302325" cy="1143000"/>
          </a:xfrm>
        </p:spPr>
        <p:txBody>
          <a:bodyPr anchor="t"/>
          <a:lstStyle>
            <a:lvl1pPr>
              <a:defRPr>
                <a:gradFill flip="none" rotWithShape="1">
                  <a:gsLst>
                    <a:gs pos="29000">
                      <a:schemeClr val="accent3"/>
                    </a:gs>
                    <a:gs pos="100000">
                      <a:schemeClr val="accent1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6798104-E4FB-4CC1-A36F-43BCB1624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7583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lang="pt-BR" sz="3200" kern="1200" dirty="0">
                <a:gradFill flip="none" rotWithShape="1">
                  <a:gsLst>
                    <a:gs pos="29000">
                      <a:schemeClr val="accent3"/>
                    </a:gs>
                    <a:gs pos="100000">
                      <a:schemeClr val="accent1"/>
                    </a:gs>
                  </a:gsLst>
                  <a:lin ang="0" scaled="1"/>
                  <a:tileRect/>
                </a:gradFill>
                <a:latin typeface="Gilroy ExtraBold" panose="00000900000000000000" pitchFamily="50" charset="0"/>
                <a:ea typeface="+mj-ea"/>
                <a:cs typeface="+mj-cs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8BB2C-8A98-45B8-A557-09925587F819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8B13D-9B2E-4391-A491-AEB8F76D3E8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559978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1" y="274639"/>
            <a:ext cx="9302325" cy="1143000"/>
          </a:xfrm>
        </p:spPr>
        <p:txBody>
          <a:bodyPr anchor="t"/>
          <a:lstStyle>
            <a:lvl1pPr>
              <a:defRPr>
                <a:gradFill flip="none" rotWithShape="1">
                  <a:gsLst>
                    <a:gs pos="0">
                      <a:schemeClr val="accent2"/>
                    </a:gs>
                    <a:gs pos="82000">
                      <a:schemeClr val="accent4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6798104-E4FB-4CC1-A36F-43BCB1624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7328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343588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84963EF4-383B-4A51-910C-AE59EEE47C0B}"/>
              </a:ext>
            </a:extLst>
          </p:cNvPr>
          <p:cNvSpPr/>
          <p:nvPr userDrawn="1"/>
        </p:nvSpPr>
        <p:spPr>
          <a:xfrm>
            <a:off x="0" y="1699491"/>
            <a:ext cx="12192000" cy="36984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1" y="274639"/>
            <a:ext cx="9302325" cy="114300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1" y="2120135"/>
            <a:ext cx="10972800" cy="26177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6798104-E4FB-4CC1-A36F-43BCB1624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5584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84963EF4-383B-4A51-910C-AE59EEE47C0B}"/>
              </a:ext>
            </a:extLst>
          </p:cNvPr>
          <p:cNvSpPr/>
          <p:nvPr userDrawn="1"/>
        </p:nvSpPr>
        <p:spPr>
          <a:xfrm>
            <a:off x="0" y="1699491"/>
            <a:ext cx="12192000" cy="36984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1" y="274639"/>
            <a:ext cx="9302325" cy="1143000"/>
          </a:xfrm>
        </p:spPr>
        <p:txBody>
          <a:bodyPr anchor="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1" y="2120135"/>
            <a:ext cx="10972800" cy="26177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6798104-E4FB-4CC1-A36F-43BCB1624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5601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84963EF4-383B-4A51-910C-AE59EEE47C0B}"/>
              </a:ext>
            </a:extLst>
          </p:cNvPr>
          <p:cNvSpPr/>
          <p:nvPr userDrawn="1"/>
        </p:nvSpPr>
        <p:spPr>
          <a:xfrm>
            <a:off x="0" y="1699491"/>
            <a:ext cx="12192000" cy="3698419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1" y="274639"/>
            <a:ext cx="9302325" cy="1143000"/>
          </a:xfrm>
        </p:spPr>
        <p:txBody>
          <a:bodyPr anchor="t"/>
          <a:lstStyle>
            <a:lvl1pPr>
              <a:defRPr>
                <a:gradFill flip="none" rotWithShape="1">
                  <a:gsLst>
                    <a:gs pos="29000">
                      <a:schemeClr val="accent3"/>
                    </a:gs>
                    <a:gs pos="100000">
                      <a:schemeClr val="accent1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1" y="2120135"/>
            <a:ext cx="10972800" cy="26177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6798104-E4FB-4CC1-A36F-43BCB1624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4939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84963EF4-383B-4A51-910C-AE59EEE47C0B}"/>
              </a:ext>
            </a:extLst>
          </p:cNvPr>
          <p:cNvSpPr/>
          <p:nvPr userDrawn="1"/>
        </p:nvSpPr>
        <p:spPr>
          <a:xfrm>
            <a:off x="0" y="1699491"/>
            <a:ext cx="12192000" cy="36984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92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1" y="274639"/>
            <a:ext cx="9302325" cy="1143000"/>
          </a:xfrm>
        </p:spPr>
        <p:txBody>
          <a:bodyPr anchor="t"/>
          <a:lstStyle>
            <a:lvl1pPr>
              <a:defRPr>
                <a:gradFill flip="none" rotWithShape="1">
                  <a:gsLst>
                    <a:gs pos="0">
                      <a:schemeClr val="accent2"/>
                    </a:gs>
                    <a:gs pos="90000">
                      <a:schemeClr val="accent4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1" y="2120135"/>
            <a:ext cx="10972800" cy="26177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6798104-E4FB-4CC1-A36F-43BCB1624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76155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84963EF4-383B-4A51-910C-AE59EEE47C0B}"/>
              </a:ext>
            </a:extLst>
          </p:cNvPr>
          <p:cNvSpPr/>
          <p:nvPr userDrawn="1"/>
        </p:nvSpPr>
        <p:spPr>
          <a:xfrm>
            <a:off x="0" y="1699491"/>
            <a:ext cx="12192000" cy="36984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1" y="274639"/>
            <a:ext cx="9302325" cy="1143000"/>
          </a:xfrm>
        </p:spPr>
        <p:txBody>
          <a:bodyPr anchor="t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1" y="2120135"/>
            <a:ext cx="10972800" cy="26177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6798104-E4FB-4CC1-A36F-43BCB1624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1803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8"/>
          <p:cNvSpPr>
            <a:spLocks noGrp="1"/>
          </p:cNvSpPr>
          <p:nvPr>
            <p:ph type="body" sz="quarter" idx="22" hasCustomPrompt="1"/>
          </p:nvPr>
        </p:nvSpPr>
        <p:spPr>
          <a:xfrm>
            <a:off x="1263489" y="3072357"/>
            <a:ext cx="2697480" cy="658810"/>
          </a:xfrm>
        </p:spPr>
        <p:txBody>
          <a:bodyPr anchor="t"/>
          <a:lstStyle>
            <a:lvl1pPr marL="0" indent="0" algn="ctr">
              <a:buFont typeface="Arial" panose="020B0604020202020204" pitchFamily="34" charset="0"/>
              <a:buChar char="​"/>
              <a:defRPr sz="1400" cap="all" spc="100" baseline="0">
                <a:solidFill>
                  <a:schemeClr val="accent3"/>
                </a:solidFill>
                <a:latin typeface="Gilroy ExtraBold" panose="00000900000000000000" pitchFamily="50" charset="0"/>
              </a:defRPr>
            </a:lvl1pPr>
            <a:lvl2pPr marL="0" indent="6350" algn="ctr">
              <a:buClr>
                <a:schemeClr val="accent1"/>
              </a:buClr>
              <a:buFont typeface="Arial" panose="020B0604020202020204" pitchFamily="34" charset="0"/>
              <a:buChar char="​"/>
              <a:defRPr sz="1400" cap="all" spc="100" baseline="0">
                <a:solidFill>
                  <a:schemeClr val="accent2"/>
                </a:solidFill>
                <a:latin typeface="FreightSansLFPro SmBd" panose="02000503040000020004" pitchFamily="50" charset="0"/>
              </a:defRPr>
            </a:lvl2pPr>
            <a:lvl3pPr marL="168275" indent="-168275"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</a:lstStyle>
          <a:p>
            <a:pPr lvl="0"/>
            <a:r>
              <a:rPr lang="en-US" dirty="0"/>
              <a:t>TÍTULO</a:t>
            </a:r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4703127" y="3072357"/>
            <a:ext cx="2697480" cy="658810"/>
          </a:xfrm>
        </p:spPr>
        <p:txBody>
          <a:bodyPr anchor="t"/>
          <a:lstStyle>
            <a:lvl1pPr marL="0" indent="0" algn="ctr">
              <a:buFont typeface="Arial" panose="020B0604020202020204" pitchFamily="34" charset="0"/>
              <a:buChar char="​"/>
              <a:defRPr sz="1400" cap="all" spc="100" baseline="0">
                <a:solidFill>
                  <a:schemeClr val="accent3"/>
                </a:solidFill>
                <a:latin typeface="Gilroy ExtraBold" panose="00000900000000000000" pitchFamily="50" charset="0"/>
              </a:defRPr>
            </a:lvl1pPr>
            <a:lvl2pPr marL="0" indent="6350" algn="ctr">
              <a:buClr>
                <a:schemeClr val="accent1"/>
              </a:buClr>
              <a:buFont typeface="Arial" panose="020B0604020202020204" pitchFamily="34" charset="0"/>
              <a:buChar char="​"/>
              <a:defRPr sz="1400" cap="all" spc="100" baseline="0">
                <a:solidFill>
                  <a:schemeClr val="accent2"/>
                </a:solidFill>
                <a:latin typeface="FreightSansLFPro SmBd" panose="02000503040000020004" pitchFamily="50" charset="0"/>
              </a:defRPr>
            </a:lvl2pPr>
            <a:lvl3pPr marL="168275" indent="-168275"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</a:lstStyle>
          <a:p>
            <a:pPr lvl="0"/>
            <a:r>
              <a:rPr lang="en-US" dirty="0"/>
              <a:t>TÍTULO</a:t>
            </a:r>
          </a:p>
        </p:txBody>
      </p:sp>
      <p:sp>
        <p:nvSpPr>
          <p:cNvPr id="26" name="Text Placeholder 28"/>
          <p:cNvSpPr>
            <a:spLocks noGrp="1"/>
          </p:cNvSpPr>
          <p:nvPr>
            <p:ph type="body" sz="quarter" idx="28" hasCustomPrompt="1"/>
          </p:nvPr>
        </p:nvSpPr>
        <p:spPr>
          <a:xfrm>
            <a:off x="8142765" y="3072357"/>
            <a:ext cx="2697480" cy="658810"/>
          </a:xfrm>
        </p:spPr>
        <p:txBody>
          <a:bodyPr anchor="t"/>
          <a:lstStyle>
            <a:lvl1pPr marL="0" indent="0" algn="ctr">
              <a:buFont typeface="Arial" panose="020B0604020202020204" pitchFamily="34" charset="0"/>
              <a:buChar char="​"/>
              <a:defRPr sz="1400" cap="all" spc="100" baseline="0">
                <a:solidFill>
                  <a:schemeClr val="accent3"/>
                </a:solidFill>
                <a:latin typeface="Gilroy ExtraBold" panose="00000900000000000000" pitchFamily="50" charset="0"/>
              </a:defRPr>
            </a:lvl1pPr>
            <a:lvl2pPr marL="0" indent="6350" algn="ctr">
              <a:buClr>
                <a:schemeClr val="accent1"/>
              </a:buClr>
              <a:buFont typeface="Arial" panose="020B0604020202020204" pitchFamily="34" charset="0"/>
              <a:buChar char="​"/>
              <a:defRPr sz="1400" cap="all" spc="100" baseline="0">
                <a:solidFill>
                  <a:schemeClr val="accent2"/>
                </a:solidFill>
                <a:latin typeface="FreightSansLFPro SmBd" panose="02000503040000020004" pitchFamily="50" charset="0"/>
              </a:defRPr>
            </a:lvl2pPr>
            <a:lvl3pPr marL="168275" indent="-168275"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</a:lstStyle>
          <a:p>
            <a:pPr lvl="0"/>
            <a:r>
              <a:rPr lang="en-US" dirty="0"/>
              <a:t>TÍTULO</a:t>
            </a:r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32" hasCustomPrompt="1"/>
          </p:nvPr>
        </p:nvSpPr>
        <p:spPr>
          <a:xfrm>
            <a:off x="1784490" y="1404938"/>
            <a:ext cx="1578960" cy="11811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 dirty="0" err="1"/>
              <a:t>Ícone</a:t>
            </a:r>
            <a:endParaRPr lang="en-US" dirty="0"/>
          </a:p>
        </p:txBody>
      </p:sp>
      <p:sp>
        <p:nvSpPr>
          <p:cNvPr id="32" name="Picture Placeholder 29"/>
          <p:cNvSpPr>
            <a:spLocks noGrp="1"/>
          </p:cNvSpPr>
          <p:nvPr>
            <p:ph type="pic" sz="quarter" idx="33" hasCustomPrompt="1"/>
          </p:nvPr>
        </p:nvSpPr>
        <p:spPr>
          <a:xfrm>
            <a:off x="5262386" y="1404938"/>
            <a:ext cx="1578960" cy="11811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94000"/>
              </a:lnSpc>
              <a:spcBef>
                <a:spcPts val="800"/>
              </a:spcBef>
              <a:spcAft>
                <a:spcPts val="4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1pPr>
          </a:lstStyle>
          <a:p>
            <a:r>
              <a:rPr lang="en-US" dirty="0" err="1"/>
              <a:t>Ícone</a:t>
            </a:r>
            <a:endParaRPr lang="en-US" dirty="0"/>
          </a:p>
        </p:txBody>
      </p:sp>
      <p:sp>
        <p:nvSpPr>
          <p:cNvPr id="33" name="Picture Placeholder 29"/>
          <p:cNvSpPr>
            <a:spLocks noGrp="1"/>
          </p:cNvSpPr>
          <p:nvPr>
            <p:ph type="pic" sz="quarter" idx="34" hasCustomPrompt="1"/>
          </p:nvPr>
        </p:nvSpPr>
        <p:spPr>
          <a:xfrm>
            <a:off x="8702024" y="1404938"/>
            <a:ext cx="1578960" cy="11811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174625" marR="0" indent="-174625" algn="l" defTabSz="914400" rtl="0" eaLnBrk="1" fontAlgn="auto" latinLnBrk="0" hangingPunct="1">
              <a:lnSpc>
                <a:spcPct val="94000"/>
              </a:lnSpc>
              <a:spcBef>
                <a:spcPts val="800"/>
              </a:spcBef>
              <a:spcAft>
                <a:spcPts val="4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tabLst/>
              <a:defRPr/>
            </a:lvl1pPr>
          </a:lstStyle>
          <a:p>
            <a:r>
              <a:rPr lang="en-US" dirty="0" err="1"/>
              <a:t>Ícon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1263489" y="3833813"/>
            <a:ext cx="2697480" cy="2374900"/>
          </a:xfrm>
        </p:spPr>
        <p:txBody>
          <a:bodyPr lIns="182880" rIns="182880">
            <a:normAutofit/>
          </a:bodyPr>
          <a:lstStyle>
            <a:lvl1pPr marL="0" indent="3175" algn="ctr">
              <a:buFont typeface="Arial" panose="020B0604020202020204" pitchFamily="34" charset="0"/>
              <a:buChar char="​"/>
              <a:defRPr sz="1400">
                <a:latin typeface="Gilroy Light" panose="00000400000000000000" pitchFamily="50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2000">
                <a:latin typeface="+mj-lt"/>
              </a:defRPr>
            </a:lvl2pPr>
            <a:lvl3pPr marL="171450" indent="-171450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37" hasCustomPrompt="1"/>
          </p:nvPr>
        </p:nvSpPr>
        <p:spPr>
          <a:xfrm>
            <a:off x="4703127" y="3833813"/>
            <a:ext cx="2697480" cy="2374900"/>
          </a:xfrm>
        </p:spPr>
        <p:txBody>
          <a:bodyPr lIns="182880" rIns="182880">
            <a:normAutofit/>
          </a:bodyPr>
          <a:lstStyle>
            <a:lvl1pPr marL="0" indent="3175" algn="ctr">
              <a:buFont typeface="Arial" panose="020B0604020202020204" pitchFamily="34" charset="0"/>
              <a:buChar char="​"/>
              <a:defRPr sz="1400">
                <a:latin typeface="Gilroy Light" panose="00000400000000000000" pitchFamily="50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2000">
                <a:latin typeface="+mj-lt"/>
              </a:defRPr>
            </a:lvl2pPr>
            <a:lvl3pPr marL="171450" indent="-171450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8142765" y="3833813"/>
            <a:ext cx="2697480" cy="2374900"/>
          </a:xfrm>
        </p:spPr>
        <p:txBody>
          <a:bodyPr lIns="182880" rIns="182880">
            <a:normAutofit/>
          </a:bodyPr>
          <a:lstStyle>
            <a:lvl1pPr marL="0" indent="3175" algn="ctr">
              <a:buFont typeface="Arial" panose="020B0604020202020204" pitchFamily="34" charset="0"/>
              <a:buChar char="​"/>
              <a:defRPr sz="1400">
                <a:latin typeface="Gilroy Light" panose="00000400000000000000" pitchFamily="50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2000">
                <a:latin typeface="+mj-lt"/>
              </a:defRPr>
            </a:lvl2pPr>
            <a:lvl3pPr marL="171450" indent="-171450"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defRPr sz="1800"/>
            </a:lvl3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09601" y="274639"/>
            <a:ext cx="10972800" cy="658810"/>
          </a:xfrm>
        </p:spPr>
        <p:txBody>
          <a:bodyPr anchor="t">
            <a:normAutofit/>
          </a:bodyPr>
          <a:lstStyle>
            <a:lvl1pPr>
              <a:defRPr lang="en-US" sz="3200" kern="1200" dirty="0">
                <a:gradFill flip="none" rotWithShape="1">
                  <a:gsLst>
                    <a:gs pos="29000">
                      <a:schemeClr val="accent3"/>
                    </a:gs>
                    <a:gs pos="100000">
                      <a:schemeClr val="accent1"/>
                    </a:gs>
                  </a:gsLst>
                  <a:lin ang="0" scaled="1"/>
                  <a:tileRect/>
                </a:gradFill>
                <a:latin typeface="Gilroy ExtraBold" panose="00000900000000000000" pitchFamily="50" charset="0"/>
                <a:ea typeface="+mj-ea"/>
                <a:cs typeface="+mj-cs"/>
              </a:defRPr>
            </a:lvl1pPr>
          </a:lstStyle>
          <a:p>
            <a:r>
              <a:rPr lang="pt-BR" dirty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42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14442" y="3162301"/>
            <a:ext cx="6324600" cy="941387"/>
          </a:xfrm>
        </p:spPr>
        <p:txBody>
          <a:bodyPr rIns="0" bIns="0" anchor="t">
            <a:normAutofit/>
          </a:bodyPr>
          <a:lstStyle>
            <a:lvl1pPr algn="l">
              <a:lnSpc>
                <a:spcPct val="86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QUE PARA EDITAR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4442" y="4221163"/>
            <a:ext cx="6334125" cy="941387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  <a:endParaRPr lang="en-US" dirty="0"/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D635DF6E-115F-4997-821B-7C3A87793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928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Dark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14442" y="3162301"/>
            <a:ext cx="6324600" cy="941387"/>
          </a:xfrm>
        </p:spPr>
        <p:txBody>
          <a:bodyPr rIns="0" bIns="0" anchor="t">
            <a:normAutofit/>
          </a:bodyPr>
          <a:lstStyle>
            <a:lvl1pPr algn="l">
              <a:lnSpc>
                <a:spcPct val="86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pt-BR" dirty="0"/>
              <a:t>CLIQUE PARA EDITAR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4442" y="4221163"/>
            <a:ext cx="6334125" cy="941387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  <a:endParaRPr lang="en-US" dirty="0"/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D635DF6E-115F-4997-821B-7C3A87793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16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ark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14442" y="3162301"/>
            <a:ext cx="6324600" cy="941387"/>
          </a:xfrm>
        </p:spPr>
        <p:txBody>
          <a:bodyPr rIns="0" bIns="0" anchor="t">
            <a:normAutofit/>
          </a:bodyPr>
          <a:lstStyle>
            <a:lvl1pPr algn="l">
              <a:lnSpc>
                <a:spcPct val="86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QUE PARA EDITAR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4442" y="4221163"/>
            <a:ext cx="6334125" cy="941387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  <a:endParaRPr lang="en-US" dirty="0"/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D635DF6E-115F-4997-821B-7C3A87793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81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Dark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14442" y="3162301"/>
            <a:ext cx="6324600" cy="941387"/>
          </a:xfrm>
        </p:spPr>
        <p:txBody>
          <a:bodyPr rIns="0" bIns="0" anchor="t">
            <a:normAutofit/>
          </a:bodyPr>
          <a:lstStyle>
            <a:lvl1pPr algn="l">
              <a:lnSpc>
                <a:spcPct val="86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QUE PARA EDITAR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4442" y="4221163"/>
            <a:ext cx="6334125" cy="941387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  <a:endParaRPr lang="en-US" dirty="0"/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D635DF6E-115F-4997-821B-7C3A87793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314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615268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Dark Backgroun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14442" y="3162301"/>
            <a:ext cx="6324600" cy="941387"/>
          </a:xfrm>
        </p:spPr>
        <p:txBody>
          <a:bodyPr rIns="0" bIns="0" anchor="t">
            <a:normAutofit/>
          </a:bodyPr>
          <a:lstStyle>
            <a:lvl1pPr algn="l">
              <a:lnSpc>
                <a:spcPct val="86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QUE PARA EDITAR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4442" y="4221163"/>
            <a:ext cx="6334125" cy="941387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95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  <a:endParaRPr lang="en-US" dirty="0"/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D635DF6E-115F-4997-821B-7C3A87793E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76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22D5880C-6FB1-40BA-A146-4149342A2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363855"/>
            <a:ext cx="12191999" cy="23218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2" y="1488281"/>
            <a:ext cx="4550415" cy="1143000"/>
          </a:xfrm>
        </p:spPr>
        <p:txBody>
          <a:bodyPr/>
          <a:lstStyle>
            <a:lvl1pPr>
              <a:defRPr>
                <a:gradFill>
                  <a:gsLst>
                    <a:gs pos="29000">
                      <a:schemeClr val="accent3"/>
                    </a:gs>
                    <a:gs pos="100000">
                      <a:schemeClr val="accent1"/>
                    </a:gs>
                  </a:gsLst>
                  <a:lin ang="0" scaled="1"/>
                </a:gra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746375"/>
            <a:ext cx="4550415" cy="294974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DD2237CA-328B-460F-A2AA-AFDB061702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7738" y="197307"/>
            <a:ext cx="1446346" cy="630737"/>
          </a:xfrm>
          <a:prstGeom prst="rect">
            <a:avLst/>
          </a:prstGeom>
        </p:spPr>
      </p:pic>
      <p:sp>
        <p:nvSpPr>
          <p:cNvPr id="8" name="Picture Placeholder 22">
            <a:extLst>
              <a:ext uri="{FF2B5EF4-FFF2-40B4-BE49-F238E27FC236}">
                <a16:creationId xmlns:a16="http://schemas.microsoft.com/office/drawing/2014/main" id="{7D386928-DB57-4CCF-8B57-10D507F1C24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633400" y="-301767"/>
            <a:ext cx="6168201" cy="7461534"/>
          </a:xfrm>
          <a:custGeom>
            <a:avLst/>
            <a:gdLst>
              <a:gd name="connsiteX0" fmla="*/ 2621769 w 5268992"/>
              <a:gd name="connsiteY0" fmla="*/ 0 h 6373781"/>
              <a:gd name="connsiteX1" fmla="*/ 5268992 w 5268992"/>
              <a:gd name="connsiteY1" fmla="*/ 2640929 h 6373781"/>
              <a:gd name="connsiteX2" fmla="*/ 2621769 w 5268992"/>
              <a:gd name="connsiteY2" fmla="*/ 6373781 h 6373781"/>
              <a:gd name="connsiteX3" fmla="*/ 0 w 5268992"/>
              <a:gd name="connsiteY3" fmla="*/ 2640929 h 6373781"/>
              <a:gd name="connsiteX4" fmla="*/ 2621769 w 5268992"/>
              <a:gd name="connsiteY4" fmla="*/ 0 h 6373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8992" h="6373781">
                <a:moveTo>
                  <a:pt x="2621769" y="0"/>
                </a:moveTo>
                <a:cubicBezTo>
                  <a:pt x="4072651" y="0"/>
                  <a:pt x="5268992" y="1193497"/>
                  <a:pt x="5268992" y="2640929"/>
                </a:cubicBezTo>
                <a:cubicBezTo>
                  <a:pt x="5268992" y="4570839"/>
                  <a:pt x="2621769" y="6373781"/>
                  <a:pt x="2621769" y="6373781"/>
                </a:cubicBezTo>
                <a:cubicBezTo>
                  <a:pt x="2621769" y="6373781"/>
                  <a:pt x="0" y="4570839"/>
                  <a:pt x="0" y="2640929"/>
                </a:cubicBezTo>
                <a:cubicBezTo>
                  <a:pt x="0" y="1193497"/>
                  <a:pt x="1170887" y="0"/>
                  <a:pt x="262176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865083">
            <a:noAutofit/>
          </a:bodyPr>
          <a:lstStyle>
            <a:lvl1pPr marL="0" indent="0" algn="ctr">
              <a:buNone/>
              <a:defRPr sz="19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 err="1"/>
              <a:t>Imag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65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pássaro&#10;&#10;Descrição gerada automaticamente">
            <a:extLst>
              <a:ext uri="{FF2B5EF4-FFF2-40B4-BE49-F238E27FC236}">
                <a16:creationId xmlns:a16="http://schemas.microsoft.com/office/drawing/2014/main" id="{623DFAFD-26E9-4A62-A253-565244AB62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63855"/>
            <a:ext cx="12192000" cy="23218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600094" y="1516549"/>
            <a:ext cx="4548554" cy="1143000"/>
          </a:xfrm>
        </p:spPr>
        <p:txBody>
          <a:bodyPr/>
          <a:lstStyle>
            <a:lvl1pPr>
              <a:defRPr>
                <a:gradFill>
                  <a:gsLst>
                    <a:gs pos="29000">
                      <a:schemeClr val="accent3"/>
                    </a:gs>
                    <a:gs pos="100000">
                      <a:schemeClr val="accent1"/>
                    </a:gs>
                  </a:gsLst>
                  <a:lin ang="0" scaled="1"/>
                </a:gra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600094" y="2774643"/>
            <a:ext cx="4548554" cy="29484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25B1455D-CFCF-4502-B1B1-C294890413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53541" y="197307"/>
            <a:ext cx="1446346" cy="630737"/>
          </a:xfrm>
          <a:prstGeom prst="rect">
            <a:avLst/>
          </a:prstGeom>
        </p:spPr>
      </p:pic>
      <p:sp>
        <p:nvSpPr>
          <p:cNvPr id="8" name="Picture Placeholder 22">
            <a:extLst>
              <a:ext uri="{FF2B5EF4-FFF2-40B4-BE49-F238E27FC236}">
                <a16:creationId xmlns:a16="http://schemas.microsoft.com/office/drawing/2014/main" id="{43639EEA-A9D1-4360-B40D-48AB2CFB27B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576293" y="-301767"/>
            <a:ext cx="6168201" cy="7461534"/>
          </a:xfrm>
          <a:custGeom>
            <a:avLst/>
            <a:gdLst>
              <a:gd name="connsiteX0" fmla="*/ 2621769 w 5268992"/>
              <a:gd name="connsiteY0" fmla="*/ 0 h 6373781"/>
              <a:gd name="connsiteX1" fmla="*/ 5268992 w 5268992"/>
              <a:gd name="connsiteY1" fmla="*/ 2640929 h 6373781"/>
              <a:gd name="connsiteX2" fmla="*/ 2621769 w 5268992"/>
              <a:gd name="connsiteY2" fmla="*/ 6373781 h 6373781"/>
              <a:gd name="connsiteX3" fmla="*/ 0 w 5268992"/>
              <a:gd name="connsiteY3" fmla="*/ 2640929 h 6373781"/>
              <a:gd name="connsiteX4" fmla="*/ 2621769 w 5268992"/>
              <a:gd name="connsiteY4" fmla="*/ 0 h 6373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8992" h="6373781">
                <a:moveTo>
                  <a:pt x="2621769" y="0"/>
                </a:moveTo>
                <a:cubicBezTo>
                  <a:pt x="4072651" y="0"/>
                  <a:pt x="5268992" y="1193497"/>
                  <a:pt x="5268992" y="2640929"/>
                </a:cubicBezTo>
                <a:cubicBezTo>
                  <a:pt x="5268992" y="4570839"/>
                  <a:pt x="2621769" y="6373781"/>
                  <a:pt x="2621769" y="6373781"/>
                </a:cubicBezTo>
                <a:cubicBezTo>
                  <a:pt x="2621769" y="6373781"/>
                  <a:pt x="0" y="4570839"/>
                  <a:pt x="0" y="2640929"/>
                </a:cubicBezTo>
                <a:cubicBezTo>
                  <a:pt x="0" y="1193497"/>
                  <a:pt x="1170887" y="0"/>
                  <a:pt x="262176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865083">
            <a:noAutofit/>
          </a:bodyPr>
          <a:lstStyle>
            <a:lvl1pPr marL="0" indent="0" algn="ctr">
              <a:buNone/>
              <a:defRPr sz="19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 err="1"/>
              <a:t>Imag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12290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82A9062B-904F-4FE8-B31C-F0C6AC3119B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8079840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82A9062B-904F-4FE8-B31C-F0C6AC3119B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096000" cy="6857999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6" name="Espaço Reservado para Imagem 4">
            <a:extLst>
              <a:ext uri="{FF2B5EF4-FFF2-40B4-BE49-F238E27FC236}">
                <a16:creationId xmlns:a16="http://schemas.microsoft.com/office/drawing/2014/main" id="{0534BF00-B8F5-4CFD-8682-8F60EB060D6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797499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82A9062B-904F-4FE8-B31C-F0C6AC3119B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064400" cy="6857999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9" name="Espaço Reservado para Imagem 4">
            <a:extLst>
              <a:ext uri="{FF2B5EF4-FFF2-40B4-BE49-F238E27FC236}">
                <a16:creationId xmlns:a16="http://schemas.microsoft.com/office/drawing/2014/main" id="{051D6B33-76D3-4D04-B4E9-D4C6622031D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3800" y="0"/>
            <a:ext cx="4064400" cy="6858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6" name="Espaço Reservado para Imagem 4">
            <a:extLst>
              <a:ext uri="{FF2B5EF4-FFF2-40B4-BE49-F238E27FC236}">
                <a16:creationId xmlns:a16="http://schemas.microsoft.com/office/drawing/2014/main" id="{0534BF00-B8F5-4CFD-8682-8F60EB060D6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7600" y="0"/>
            <a:ext cx="4064400" cy="6858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4842275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82A9062B-904F-4FE8-B31C-F0C6AC3119B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9" name="Espaço Reservado para Imagem 4">
            <a:extLst>
              <a:ext uri="{FF2B5EF4-FFF2-40B4-BE49-F238E27FC236}">
                <a16:creationId xmlns:a16="http://schemas.microsoft.com/office/drawing/2014/main" id="{051D6B33-76D3-4D04-B4E9-D4C6622031D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10" name="Espaço Reservado para Imagem 4">
            <a:extLst>
              <a:ext uri="{FF2B5EF4-FFF2-40B4-BE49-F238E27FC236}">
                <a16:creationId xmlns:a16="http://schemas.microsoft.com/office/drawing/2014/main" id="{21ECF432-EB77-489A-82BD-8CEFC764442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429000"/>
            <a:ext cx="60960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13" name="Espaço Reservado para Imagem 4">
            <a:extLst>
              <a:ext uri="{FF2B5EF4-FFF2-40B4-BE49-F238E27FC236}">
                <a16:creationId xmlns:a16="http://schemas.microsoft.com/office/drawing/2014/main" id="{A1C62049-AA41-467C-B16E-A3BE02D811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60960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654308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82A9062B-904F-4FE8-B31C-F0C6AC3119B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644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9" name="Espaço Reservado para Imagem 4">
            <a:extLst>
              <a:ext uri="{FF2B5EF4-FFF2-40B4-BE49-F238E27FC236}">
                <a16:creationId xmlns:a16="http://schemas.microsoft.com/office/drawing/2014/main" id="{051D6B33-76D3-4D04-B4E9-D4C6622031D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3800" y="0"/>
            <a:ext cx="40644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6" name="Espaço Reservado para Imagem 4">
            <a:extLst>
              <a:ext uri="{FF2B5EF4-FFF2-40B4-BE49-F238E27FC236}">
                <a16:creationId xmlns:a16="http://schemas.microsoft.com/office/drawing/2014/main" id="{0534BF00-B8F5-4CFD-8682-8F60EB060D6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7600" y="0"/>
            <a:ext cx="40644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7" name="Espaço Reservado para Imagem 4">
            <a:extLst>
              <a:ext uri="{FF2B5EF4-FFF2-40B4-BE49-F238E27FC236}">
                <a16:creationId xmlns:a16="http://schemas.microsoft.com/office/drawing/2014/main" id="{8204A650-9C96-4B28-B4DB-ABCDFFC71A0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29000"/>
            <a:ext cx="40644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8" name="Espaço Reservado para Imagem 4">
            <a:extLst>
              <a:ext uri="{FF2B5EF4-FFF2-40B4-BE49-F238E27FC236}">
                <a16:creationId xmlns:a16="http://schemas.microsoft.com/office/drawing/2014/main" id="{148455A1-DC55-4BF8-A576-6D62C16F807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3800" y="3429000"/>
            <a:ext cx="40644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10" name="Espaço Reservado para Imagem 4">
            <a:extLst>
              <a:ext uri="{FF2B5EF4-FFF2-40B4-BE49-F238E27FC236}">
                <a16:creationId xmlns:a16="http://schemas.microsoft.com/office/drawing/2014/main" id="{41A6362D-6CFD-4588-AFC5-96BE4F35C3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7600" y="3429000"/>
            <a:ext cx="4064400" cy="3429000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latin typeface="Gilroy" panose="00000500000000000000" pitchFamily="50" charset="0"/>
              </a:defRPr>
            </a:lvl1pPr>
          </a:lstStyle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433301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8BB2C-8A98-45B8-A557-09925587F819}" type="datetimeFigureOut">
              <a:rPr lang="pt-BR" smtClean="0"/>
              <a:t>09/06/2022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8B13D-9B2E-4391-A491-AEB8F76D3E8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937235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967734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278295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468791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5155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7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1.emf"/><Relationship Id="rId20" Type="http://schemas.microsoft.com/office/2007/relationships/hdphoto" Target="../media/hdphoto1.wdp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35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 dirty="0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26212" y="6298064"/>
            <a:ext cx="2499145" cy="57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189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 dirty="0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776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92E144-DA1A-4D36-B236-F727F085E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9433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92E144-DA1A-4D36-B236-F727F085E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8892AA-B66E-476D-96A1-B4D7B543925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5DC5B52-2491-43CB-A5AD-5BDA7D63CA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C6177-DAD1-41F1-A77D-80013BB6A192}" type="datetimeFigureOut">
              <a:rPr lang="pt-BR" smtClean="0"/>
              <a:t>09/06/2022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383ECB1-B70A-4EAA-9B33-8797B2BC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27E491F-1F75-4371-8BBB-0493FB4BD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7" name="Espaço Reservado para Título 1">
            <a:extLst>
              <a:ext uri="{FF2B5EF4-FFF2-40B4-BE49-F238E27FC236}">
                <a16:creationId xmlns:a16="http://schemas.microsoft.com/office/drawing/2014/main" id="{FC867436-2095-4BD7-9401-1EC96E671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34D6BC4-3F5A-40B2-A333-ADD8D93CF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27EBFEE1-DF9C-4315-A0DB-97F1E0EF62B5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93132" y="13667"/>
            <a:ext cx="3431259" cy="107532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2A93D9E-4AF0-4F01-95EB-5055FAF12DFC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1588700" y="5663084"/>
            <a:ext cx="1546299" cy="960856"/>
            <a:chOff x="2510307" y="2891970"/>
            <a:chExt cx="5297533" cy="3291840"/>
          </a:xfrm>
        </p:grpSpPr>
        <p:sp>
          <p:nvSpPr>
            <p:cNvPr id="12" name="Oval 11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1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Oval 13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5" name="Picture 2" descr="Imagen relacionada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/>
          <p:cNvSpPr txBox="1"/>
          <p:nvPr userDrawn="1"/>
        </p:nvSpPr>
        <p:spPr>
          <a:xfrm>
            <a:off x="3059026" y="55728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140502" y="61683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263" y="56356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O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s-AR" sz="2400" dirty="0">
                <a:solidFill>
                  <a:schemeClr val="bg1"/>
                </a:solidFill>
              </a:rPr>
              <a:t>Logistics 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3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1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Gilroy Light" panose="00000400000000000000" pitchFamily="50" charset="0"/>
              </a:defRPr>
            </a:lvl1pPr>
          </a:lstStyle>
          <a:p>
            <a:fld id="{0E18BB2C-8A98-45B8-A557-09925587F819}" type="datetimeFigureOut">
              <a:rPr lang="pt-BR" smtClean="0"/>
              <a:pPr/>
              <a:t>09/06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Gilroy Light" panose="00000400000000000000" pitchFamily="50" charset="0"/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roy Light" panose="00000400000000000000" pitchFamily="50" charset="0"/>
              </a:defRPr>
            </a:lvl1pPr>
          </a:lstStyle>
          <a:p>
            <a:fld id="{8BE8B13D-9B2E-4391-A491-AEB8F76D3E8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308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</p:sldLayoutIdLst>
  <p:transition>
    <p:fade/>
  </p:transition>
  <p:txStyles>
    <p:titleStyle>
      <a:lvl1pPr algn="l" defTabSz="914309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Gilroy ExtraBold" panose="00000900000000000000" pitchFamily="50" charset="0"/>
          <a:ea typeface="+mj-ea"/>
          <a:cs typeface="+mj-cs"/>
        </a:defRPr>
      </a:lvl1pPr>
    </p:titleStyle>
    <p:bodyStyle>
      <a:lvl1pPr marL="0" indent="0" algn="l" defTabSz="914309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Gilroy Light" panose="00000400000000000000" pitchFamily="50" charset="0"/>
          <a:ea typeface="+mn-ea"/>
          <a:cs typeface="+mn-cs"/>
        </a:defRPr>
      </a:lvl1pPr>
      <a:lvl2pPr marL="457154" indent="0" algn="l" defTabSz="914309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Gilroy Light" panose="00000400000000000000" pitchFamily="50" charset="0"/>
          <a:ea typeface="+mn-ea"/>
          <a:cs typeface="+mn-cs"/>
        </a:defRPr>
      </a:lvl2pPr>
      <a:lvl3pPr marL="914309" indent="0" algn="l" defTabSz="914309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Gilroy Light" panose="00000400000000000000" pitchFamily="50" charset="0"/>
          <a:ea typeface="+mn-ea"/>
          <a:cs typeface="+mn-cs"/>
        </a:defRPr>
      </a:lvl3pPr>
      <a:lvl4pPr marL="1371463" indent="0" algn="l" defTabSz="914309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Gilroy Light" panose="00000400000000000000" pitchFamily="50" charset="0"/>
          <a:ea typeface="+mn-ea"/>
          <a:cs typeface="+mn-cs"/>
        </a:defRPr>
      </a:lvl4pPr>
      <a:lvl5pPr marL="1828617" indent="0" algn="l" defTabSz="914309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Gilroy Light" panose="00000400000000000000" pitchFamily="50" charset="0"/>
          <a:ea typeface="+mn-ea"/>
          <a:cs typeface="+mn-cs"/>
        </a:defRPr>
      </a:lvl5pPr>
      <a:lvl6pPr marL="2514349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26" Type="http://schemas.openxmlformats.org/officeDocument/2006/relationships/image" Target="../media/image31.svg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26.png"/><Relationship Id="rId34" Type="http://schemas.openxmlformats.org/officeDocument/2006/relationships/image" Target="../media/image39.svg"/><Relationship Id="rId7" Type="http://schemas.openxmlformats.org/officeDocument/2006/relationships/image" Target="../media/image13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2" Type="http://schemas.openxmlformats.org/officeDocument/2006/relationships/tags" Target="../tags/tag14.xml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29" Type="http://schemas.openxmlformats.org/officeDocument/2006/relationships/image" Target="../media/image34.png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16.png"/><Relationship Id="rId24" Type="http://schemas.openxmlformats.org/officeDocument/2006/relationships/image" Target="../media/image29.svg"/><Relationship Id="rId32" Type="http://schemas.openxmlformats.org/officeDocument/2006/relationships/image" Target="../media/image37.sv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svg"/><Relationship Id="rId36" Type="http://schemas.openxmlformats.org/officeDocument/2006/relationships/image" Target="../media/image41.sv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31" Type="http://schemas.openxmlformats.org/officeDocument/2006/relationships/image" Target="../media/image36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4.png"/><Relationship Id="rId14" Type="http://schemas.openxmlformats.org/officeDocument/2006/relationships/image" Target="../media/image19.svg"/><Relationship Id="rId22" Type="http://schemas.openxmlformats.org/officeDocument/2006/relationships/image" Target="../media/image27.svg"/><Relationship Id="rId27" Type="http://schemas.openxmlformats.org/officeDocument/2006/relationships/image" Target="../media/image32.png"/><Relationship Id="rId30" Type="http://schemas.openxmlformats.org/officeDocument/2006/relationships/image" Target="../media/image35.svg"/><Relationship Id="rId35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46.png"/><Relationship Id="rId18" Type="http://schemas.openxmlformats.org/officeDocument/2006/relationships/image" Target="../media/image51.svg"/><Relationship Id="rId26" Type="http://schemas.openxmlformats.org/officeDocument/2006/relationships/image" Target="../media/image59.svg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54.png"/><Relationship Id="rId7" Type="http://schemas.openxmlformats.org/officeDocument/2006/relationships/image" Target="../media/image13.png"/><Relationship Id="rId12" Type="http://schemas.openxmlformats.org/officeDocument/2006/relationships/image" Target="../media/image45.sv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2" Type="http://schemas.openxmlformats.org/officeDocument/2006/relationships/tags" Target="../tags/tag16.xml"/><Relationship Id="rId16" Type="http://schemas.openxmlformats.org/officeDocument/2006/relationships/image" Target="../media/image49.svg"/><Relationship Id="rId20" Type="http://schemas.openxmlformats.org/officeDocument/2006/relationships/image" Target="../media/image53.svg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11" Type="http://schemas.openxmlformats.org/officeDocument/2006/relationships/image" Target="../media/image44.png"/><Relationship Id="rId24" Type="http://schemas.openxmlformats.org/officeDocument/2006/relationships/image" Target="../media/image57.sv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48.png"/><Relationship Id="rId23" Type="http://schemas.openxmlformats.org/officeDocument/2006/relationships/image" Target="../media/image56.png"/><Relationship Id="rId28" Type="http://schemas.openxmlformats.org/officeDocument/2006/relationships/image" Target="../media/image61.svg"/><Relationship Id="rId10" Type="http://schemas.openxmlformats.org/officeDocument/2006/relationships/image" Target="../media/image43.svg"/><Relationship Id="rId19" Type="http://schemas.openxmlformats.org/officeDocument/2006/relationships/image" Target="../media/image5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2.png"/><Relationship Id="rId14" Type="http://schemas.openxmlformats.org/officeDocument/2006/relationships/image" Target="../media/image47.svg"/><Relationship Id="rId22" Type="http://schemas.openxmlformats.org/officeDocument/2006/relationships/image" Target="../media/image55.svg"/><Relationship Id="rId27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D1999804-DAE1-4EA4-954D-13948786EF01}"/>
              </a:ext>
            </a:extLst>
          </p:cNvPr>
          <p:cNvSpPr txBox="1">
            <a:spLocks/>
          </p:cNvSpPr>
          <p:nvPr/>
        </p:nvSpPr>
        <p:spPr>
          <a:xfrm>
            <a:off x="248576" y="2478967"/>
            <a:ext cx="7749530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400" dirty="0">
              <a:solidFill>
                <a:prstClr val="white"/>
              </a:solidFill>
              <a:latin typeface="Arial" charset="0"/>
              <a:ea typeface="Arial" charset="0"/>
              <a:cs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Logistics Processe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B727CFFD-FBB7-4F08-85FF-BBEFDEE695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576" y="4590863"/>
            <a:ext cx="5271655" cy="1655762"/>
          </a:xfrm>
        </p:spPr>
        <p:txBody>
          <a:bodyPr/>
          <a:lstStyle/>
          <a:p>
            <a:pPr algn="l"/>
            <a:r>
              <a:rPr lang="en-US"/>
              <a:t>Jun </a:t>
            </a:r>
            <a:r>
              <a:rPr lang="pt-BR" dirty="0"/>
              <a:t> 2021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BC148A5-D9B7-4837-8608-BD78EB9ED1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418744"/>
            <a:ext cx="5520231" cy="1380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457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8DD6E8B4-F4AB-43C1-B907-A3B0048E5543}"/>
              </a:ext>
            </a:extLst>
          </p:cNvPr>
          <p:cNvSpPr/>
          <p:nvPr/>
        </p:nvSpPr>
        <p:spPr>
          <a:xfrm>
            <a:off x="695503" y="541089"/>
            <a:ext cx="10798939" cy="5624644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 w="762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Rectángulo: esquinas redondeadas 77">
            <a:extLst>
              <a:ext uri="{FF2B5EF4-FFF2-40B4-BE49-F238E27FC236}">
                <a16:creationId xmlns:a16="http://schemas.microsoft.com/office/drawing/2014/main" id="{2DCA052D-6E7A-4162-B2BD-5EEFD32522E8}"/>
              </a:ext>
            </a:extLst>
          </p:cNvPr>
          <p:cNvSpPr/>
          <p:nvPr/>
        </p:nvSpPr>
        <p:spPr>
          <a:xfrm rot="16200000">
            <a:off x="3795352" y="207436"/>
            <a:ext cx="4611520" cy="723670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bou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cessing</a:t>
            </a:r>
          </a:p>
        </p:txBody>
      </p:sp>
      <p:grpSp>
        <p:nvGrpSpPr>
          <p:cNvPr id="80" name="Grupo 79">
            <a:extLst>
              <a:ext uri="{FF2B5EF4-FFF2-40B4-BE49-F238E27FC236}">
                <a16:creationId xmlns:a16="http://schemas.microsoft.com/office/drawing/2014/main" id="{3F7390AD-7BD8-48BC-98BE-B14D89E1C2BC}"/>
              </a:ext>
            </a:extLst>
          </p:cNvPr>
          <p:cNvGrpSpPr/>
          <p:nvPr/>
        </p:nvGrpSpPr>
        <p:grpSpPr>
          <a:xfrm>
            <a:off x="2885626" y="747317"/>
            <a:ext cx="1674161" cy="581633"/>
            <a:chOff x="2266050" y="1219199"/>
            <a:chExt cx="2151182" cy="1625600"/>
          </a:xfrm>
          <a:solidFill>
            <a:schemeClr val="bg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88" name="Rectángulo: esquinas redondeadas 87">
              <a:extLst>
                <a:ext uri="{FF2B5EF4-FFF2-40B4-BE49-F238E27FC236}">
                  <a16:creationId xmlns:a16="http://schemas.microsoft.com/office/drawing/2014/main" id="{3BF5E603-1F23-44EB-83EC-BEC4ED594E63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00" name="Rectángulo: esquinas redondeadas 4">
              <a:extLst>
                <a:ext uri="{FF2B5EF4-FFF2-40B4-BE49-F238E27FC236}">
                  <a16:creationId xmlns:a16="http://schemas.microsoft.com/office/drawing/2014/main" id="{31D1D8A8-AAE6-40F2-B036-5C44D4BDDC1F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8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andards</a:t>
              </a:r>
            </a:p>
          </p:txBody>
        </p:sp>
      </p:grpSp>
      <p:grpSp>
        <p:nvGrpSpPr>
          <p:cNvPr id="101" name="Grupo 100">
            <a:extLst>
              <a:ext uri="{FF2B5EF4-FFF2-40B4-BE49-F238E27FC236}">
                <a16:creationId xmlns:a16="http://schemas.microsoft.com/office/drawing/2014/main" id="{E0C505AD-BD53-4879-9EC0-0CD427BBC800}"/>
              </a:ext>
            </a:extLst>
          </p:cNvPr>
          <p:cNvGrpSpPr/>
          <p:nvPr/>
        </p:nvGrpSpPr>
        <p:grpSpPr>
          <a:xfrm>
            <a:off x="4966822" y="755499"/>
            <a:ext cx="1674161" cy="581633"/>
            <a:chOff x="2266050" y="1219199"/>
            <a:chExt cx="2151182" cy="1625600"/>
          </a:xfrm>
          <a:solidFill>
            <a:schemeClr val="bg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02" name="Rectángulo: esquinas redondeadas 101">
              <a:extLst>
                <a:ext uri="{FF2B5EF4-FFF2-40B4-BE49-F238E27FC236}">
                  <a16:creationId xmlns:a16="http://schemas.microsoft.com/office/drawing/2014/main" id="{B1D3A859-15DE-4F7A-8896-9512B185227C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05" name="Rectángulo: esquinas redondeadas 4">
              <a:extLst>
                <a:ext uri="{FF2B5EF4-FFF2-40B4-BE49-F238E27FC236}">
                  <a16:creationId xmlns:a16="http://schemas.microsoft.com/office/drawing/2014/main" id="{AF7553FD-719A-42DA-8116-DBC80FD82880}"/>
                </a:ext>
              </a:extLst>
            </p:cNvPr>
            <p:cNvSpPr txBox="1"/>
            <p:nvPr/>
          </p:nvSpPr>
          <p:spPr>
            <a:xfrm>
              <a:off x="2345405" y="1298554"/>
              <a:ext cx="1992473" cy="146688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etrics</a:t>
              </a:r>
            </a:p>
          </p:txBody>
        </p:sp>
      </p:grpSp>
      <p:grpSp>
        <p:nvGrpSpPr>
          <p:cNvPr id="108" name="Grupo 107">
            <a:extLst>
              <a:ext uri="{FF2B5EF4-FFF2-40B4-BE49-F238E27FC236}">
                <a16:creationId xmlns:a16="http://schemas.microsoft.com/office/drawing/2014/main" id="{696DE069-5B83-4F8A-BA00-5AD92257C709}"/>
              </a:ext>
            </a:extLst>
          </p:cNvPr>
          <p:cNvGrpSpPr/>
          <p:nvPr/>
        </p:nvGrpSpPr>
        <p:grpSpPr>
          <a:xfrm>
            <a:off x="6991565" y="748584"/>
            <a:ext cx="1674161" cy="581633"/>
            <a:chOff x="2266050" y="1219199"/>
            <a:chExt cx="2151182" cy="1625600"/>
          </a:xfrm>
          <a:solidFill>
            <a:schemeClr val="bg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10" name="Rectángulo: esquinas redondeadas 109">
              <a:extLst>
                <a:ext uri="{FF2B5EF4-FFF2-40B4-BE49-F238E27FC236}">
                  <a16:creationId xmlns:a16="http://schemas.microsoft.com/office/drawing/2014/main" id="{9ED99F1F-9DA8-41AB-926A-E908232BF5A5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11" name="Rectángulo: esquinas redondeadas 4">
              <a:extLst>
                <a:ext uri="{FF2B5EF4-FFF2-40B4-BE49-F238E27FC236}">
                  <a16:creationId xmlns:a16="http://schemas.microsoft.com/office/drawing/2014/main" id="{9DAE8AEA-C684-4E7D-BB51-C84052B265D3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ntinues Improvement</a:t>
              </a:r>
            </a:p>
          </p:txBody>
        </p:sp>
      </p:grpSp>
      <p:grpSp>
        <p:nvGrpSpPr>
          <p:cNvPr id="118" name="Grupo 117">
            <a:extLst>
              <a:ext uri="{FF2B5EF4-FFF2-40B4-BE49-F238E27FC236}">
                <a16:creationId xmlns:a16="http://schemas.microsoft.com/office/drawing/2014/main" id="{3CE687B1-8CBB-48BA-86DD-013FD78C49FC}"/>
              </a:ext>
            </a:extLst>
          </p:cNvPr>
          <p:cNvGrpSpPr/>
          <p:nvPr/>
        </p:nvGrpSpPr>
        <p:grpSpPr>
          <a:xfrm>
            <a:off x="8140124" y="2028265"/>
            <a:ext cx="1462029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119" name="Rectángulo: esquinas redondeadas 118">
              <a:extLst>
                <a:ext uri="{FF2B5EF4-FFF2-40B4-BE49-F238E27FC236}">
                  <a16:creationId xmlns:a16="http://schemas.microsoft.com/office/drawing/2014/main" id="{6EF7221E-C675-4B8E-86FB-7C2E67EFC83A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20" name="Rectángulo: esquinas redondeadas 4">
              <a:extLst>
                <a:ext uri="{FF2B5EF4-FFF2-40B4-BE49-F238E27FC236}">
                  <a16:creationId xmlns:a16="http://schemas.microsoft.com/office/drawing/2014/main" id="{DD7202D8-3A0E-4A58-95DA-0B19A259970E}"/>
                </a:ext>
              </a:extLst>
            </p:cNvPr>
            <p:cNvSpPr txBox="1"/>
            <p:nvPr/>
          </p:nvSpPr>
          <p:spPr>
            <a:xfrm>
              <a:off x="2379467" y="1298554"/>
              <a:ext cx="1992471" cy="1466889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ventory Management</a:t>
              </a:r>
            </a:p>
          </p:txBody>
        </p:sp>
      </p:grpSp>
      <p:grpSp>
        <p:nvGrpSpPr>
          <p:cNvPr id="124" name="Grupo 123">
            <a:extLst>
              <a:ext uri="{FF2B5EF4-FFF2-40B4-BE49-F238E27FC236}">
                <a16:creationId xmlns:a16="http://schemas.microsoft.com/office/drawing/2014/main" id="{CD59E2B2-E975-4C63-A35F-7389E4C30E88}"/>
              </a:ext>
            </a:extLst>
          </p:cNvPr>
          <p:cNvGrpSpPr/>
          <p:nvPr/>
        </p:nvGrpSpPr>
        <p:grpSpPr>
          <a:xfrm>
            <a:off x="6548031" y="2027884"/>
            <a:ext cx="1546155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125" name="Rectángulo: esquinas redondeadas 124">
              <a:extLst>
                <a:ext uri="{FF2B5EF4-FFF2-40B4-BE49-F238E27FC236}">
                  <a16:creationId xmlns:a16="http://schemas.microsoft.com/office/drawing/2014/main" id="{E004A89F-A250-48F7-870C-D29593E0333D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26" name="Rectángulo: esquinas redondeadas 4">
              <a:extLst>
                <a:ext uri="{FF2B5EF4-FFF2-40B4-BE49-F238E27FC236}">
                  <a16:creationId xmlns:a16="http://schemas.microsoft.com/office/drawing/2014/main" id="{466EF6F3-7A6C-4E15-B876-3A4ACE3E0811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intenance Management</a:t>
              </a:r>
            </a:p>
          </p:txBody>
        </p:sp>
      </p:grpSp>
      <p:grpSp>
        <p:nvGrpSpPr>
          <p:cNvPr id="127" name="Grupo 126">
            <a:extLst>
              <a:ext uri="{FF2B5EF4-FFF2-40B4-BE49-F238E27FC236}">
                <a16:creationId xmlns:a16="http://schemas.microsoft.com/office/drawing/2014/main" id="{B0A315DC-5256-4C72-809A-90240584BA3B}"/>
              </a:ext>
            </a:extLst>
          </p:cNvPr>
          <p:cNvGrpSpPr/>
          <p:nvPr/>
        </p:nvGrpSpPr>
        <p:grpSpPr>
          <a:xfrm>
            <a:off x="2655011" y="2034140"/>
            <a:ext cx="1067696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128" name="Rectángulo: esquinas redondeadas 127">
              <a:extLst>
                <a:ext uri="{FF2B5EF4-FFF2-40B4-BE49-F238E27FC236}">
                  <a16:creationId xmlns:a16="http://schemas.microsoft.com/office/drawing/2014/main" id="{81D10E3A-6906-4BE1-B4C2-9A8EEEB4FACE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29" name="Rectángulo: esquinas redondeadas 4">
              <a:extLst>
                <a:ext uri="{FF2B5EF4-FFF2-40B4-BE49-F238E27FC236}">
                  <a16:creationId xmlns:a16="http://schemas.microsoft.com/office/drawing/2014/main" id="{416A78E3-0AA4-4A24-8A2A-CD9787B20A2E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Qualit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VE</a:t>
              </a:r>
            </a:p>
          </p:txBody>
        </p:sp>
      </p:grpSp>
      <p:grpSp>
        <p:nvGrpSpPr>
          <p:cNvPr id="130" name="Grupo 129">
            <a:extLst>
              <a:ext uri="{FF2B5EF4-FFF2-40B4-BE49-F238E27FC236}">
                <a16:creationId xmlns:a16="http://schemas.microsoft.com/office/drawing/2014/main" id="{3F257D59-FA5E-4209-BFD8-3BE8298D1A5B}"/>
              </a:ext>
            </a:extLst>
          </p:cNvPr>
          <p:cNvGrpSpPr/>
          <p:nvPr/>
        </p:nvGrpSpPr>
        <p:grpSpPr>
          <a:xfrm>
            <a:off x="3772484" y="2034140"/>
            <a:ext cx="967503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131" name="Rectángulo: esquinas redondeadas 130">
              <a:extLst>
                <a:ext uri="{FF2B5EF4-FFF2-40B4-BE49-F238E27FC236}">
                  <a16:creationId xmlns:a16="http://schemas.microsoft.com/office/drawing/2014/main" id="{6C157619-4463-4418-9316-06EE1CEA21C4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32" name="Rectángulo: esquinas redondeadas 4">
              <a:extLst>
                <a:ext uri="{FF2B5EF4-FFF2-40B4-BE49-F238E27FC236}">
                  <a16:creationId xmlns:a16="http://schemas.microsoft.com/office/drawing/2014/main" id="{C82ECF0B-7E97-4DD6-A646-3FCB62315C5E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AFETY</a:t>
              </a:r>
            </a:p>
          </p:txBody>
        </p:sp>
      </p:grpSp>
      <p:sp>
        <p:nvSpPr>
          <p:cNvPr id="9" name="Rectángulo 8">
            <a:extLst>
              <a:ext uri="{FF2B5EF4-FFF2-40B4-BE49-F238E27FC236}">
                <a16:creationId xmlns:a16="http://schemas.microsoft.com/office/drawing/2014/main" id="{950EF412-0313-48AF-8DBA-2F58A1206F22}"/>
              </a:ext>
            </a:extLst>
          </p:cNvPr>
          <p:cNvSpPr/>
          <p:nvPr/>
        </p:nvSpPr>
        <p:spPr>
          <a:xfrm>
            <a:off x="3477249" y="1596956"/>
            <a:ext cx="5047281" cy="4175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rehouse Management Processing</a:t>
            </a: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CD085A5E-B0CA-4B58-B5B7-D3FF003CB328}"/>
              </a:ext>
            </a:extLst>
          </p:cNvPr>
          <p:cNvSpPr/>
          <p:nvPr/>
        </p:nvSpPr>
        <p:spPr>
          <a:xfrm>
            <a:off x="11523600" y="515001"/>
            <a:ext cx="571631" cy="562464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C7285348-546D-477E-BB6E-0B900BEA65AC}"/>
              </a:ext>
            </a:extLst>
          </p:cNvPr>
          <p:cNvSpPr/>
          <p:nvPr/>
        </p:nvSpPr>
        <p:spPr>
          <a:xfrm>
            <a:off x="2735819" y="2759399"/>
            <a:ext cx="6730581" cy="3207260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4" name="Rectángulo: esquinas redondeadas 143">
            <a:extLst>
              <a:ext uri="{FF2B5EF4-FFF2-40B4-BE49-F238E27FC236}">
                <a16:creationId xmlns:a16="http://schemas.microsoft.com/office/drawing/2014/main" id="{2F087556-7AC2-4083-8259-C966A7A5AB0C}"/>
              </a:ext>
            </a:extLst>
          </p:cNvPr>
          <p:cNvSpPr/>
          <p:nvPr/>
        </p:nvSpPr>
        <p:spPr>
          <a:xfrm rot="16200000">
            <a:off x="2589766" y="3710508"/>
            <a:ext cx="2045397" cy="143725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bou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Processe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45" name="Flecha abajo 7">
            <a:extLst>
              <a:ext uri="{FF2B5EF4-FFF2-40B4-BE49-F238E27FC236}">
                <a16:creationId xmlns:a16="http://schemas.microsoft.com/office/drawing/2014/main" id="{5AFD9CE6-A435-42F6-8A94-ED842C661B33}"/>
              </a:ext>
            </a:extLst>
          </p:cNvPr>
          <p:cNvSpPr/>
          <p:nvPr/>
        </p:nvSpPr>
        <p:spPr>
          <a:xfrm rot="16200000">
            <a:off x="4298245" y="4487850"/>
            <a:ext cx="639224" cy="379711"/>
          </a:xfrm>
          <a:prstGeom prst="downArrow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6" name="Grupo 145">
            <a:extLst>
              <a:ext uri="{FF2B5EF4-FFF2-40B4-BE49-F238E27FC236}">
                <a16:creationId xmlns:a16="http://schemas.microsoft.com/office/drawing/2014/main" id="{901F5639-958E-48F1-A4F9-F80881FA6141}"/>
              </a:ext>
            </a:extLst>
          </p:cNvPr>
          <p:cNvGrpSpPr/>
          <p:nvPr/>
        </p:nvGrpSpPr>
        <p:grpSpPr>
          <a:xfrm>
            <a:off x="3027893" y="4132864"/>
            <a:ext cx="1162071" cy="365075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47" name="Rectángulo: esquinas redondeadas 146">
              <a:extLst>
                <a:ext uri="{FF2B5EF4-FFF2-40B4-BE49-F238E27FC236}">
                  <a16:creationId xmlns:a16="http://schemas.microsoft.com/office/drawing/2014/main" id="{73A68E47-8915-4430-9EFC-CAE0A672A2EB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48" name="Rectángulo: esquinas redondeadas 4">
              <a:extLst>
                <a:ext uri="{FF2B5EF4-FFF2-40B4-BE49-F238E27FC236}">
                  <a16:creationId xmlns:a16="http://schemas.microsoft.com/office/drawing/2014/main" id="{3373AA78-222C-4C5A-8B39-C93911E771E6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ception &amp; unload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52" name="Grupo 151">
            <a:extLst>
              <a:ext uri="{FF2B5EF4-FFF2-40B4-BE49-F238E27FC236}">
                <a16:creationId xmlns:a16="http://schemas.microsoft.com/office/drawing/2014/main" id="{823CCBCF-3F62-4D25-BA68-FAFBF0EA2807}"/>
              </a:ext>
            </a:extLst>
          </p:cNvPr>
          <p:cNvGrpSpPr/>
          <p:nvPr/>
        </p:nvGrpSpPr>
        <p:grpSpPr>
          <a:xfrm>
            <a:off x="3026077" y="4651034"/>
            <a:ext cx="1162071" cy="365075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53" name="Rectángulo: esquinas redondeadas 152">
              <a:extLst>
                <a:ext uri="{FF2B5EF4-FFF2-40B4-BE49-F238E27FC236}">
                  <a16:creationId xmlns:a16="http://schemas.microsoft.com/office/drawing/2014/main" id="{9CAB804F-CFA2-427C-B532-84C66C075404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54" name="Rectángulo: esquinas redondeadas 4">
              <a:extLst>
                <a:ext uri="{FF2B5EF4-FFF2-40B4-BE49-F238E27FC236}">
                  <a16:creationId xmlns:a16="http://schemas.microsoft.com/office/drawing/2014/main" id="{AA5E10DB-E971-48D9-BAC6-2961880433C3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turns</a:t>
              </a:r>
            </a:p>
          </p:txBody>
        </p:sp>
      </p:grpSp>
      <p:sp>
        <p:nvSpPr>
          <p:cNvPr id="166" name="Rectángulo: esquinas redondeadas 165">
            <a:extLst>
              <a:ext uri="{FF2B5EF4-FFF2-40B4-BE49-F238E27FC236}">
                <a16:creationId xmlns:a16="http://schemas.microsoft.com/office/drawing/2014/main" id="{9D61BAAF-9747-431D-B18E-8B28B6C44C31}"/>
              </a:ext>
            </a:extLst>
          </p:cNvPr>
          <p:cNvSpPr/>
          <p:nvPr/>
        </p:nvSpPr>
        <p:spPr>
          <a:xfrm rot="16200000">
            <a:off x="7573223" y="3697193"/>
            <a:ext cx="2045397" cy="143725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bou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Processe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grpSp>
        <p:nvGrpSpPr>
          <p:cNvPr id="168" name="Grupo 167">
            <a:extLst>
              <a:ext uri="{FF2B5EF4-FFF2-40B4-BE49-F238E27FC236}">
                <a16:creationId xmlns:a16="http://schemas.microsoft.com/office/drawing/2014/main" id="{2BECE68B-F5AF-480B-B09B-78DA7672D4F2}"/>
              </a:ext>
            </a:extLst>
          </p:cNvPr>
          <p:cNvGrpSpPr/>
          <p:nvPr/>
        </p:nvGrpSpPr>
        <p:grpSpPr>
          <a:xfrm>
            <a:off x="7998817" y="4602432"/>
            <a:ext cx="1220201" cy="342648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69" name="Rectángulo: esquinas redondeadas 168">
              <a:extLst>
                <a:ext uri="{FF2B5EF4-FFF2-40B4-BE49-F238E27FC236}">
                  <a16:creationId xmlns:a16="http://schemas.microsoft.com/office/drawing/2014/main" id="{35F350B9-6E50-4BCE-9F79-F1F81EF6A85F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70" name="Rectángulo: esquinas redondeadas 4">
              <a:extLst>
                <a:ext uri="{FF2B5EF4-FFF2-40B4-BE49-F238E27FC236}">
                  <a16:creationId xmlns:a16="http://schemas.microsoft.com/office/drawing/2014/main" id="{D5F54851-EDDD-49F8-8134-9A22152F7510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ad/Shipping</a:t>
              </a:r>
            </a:p>
          </p:txBody>
        </p:sp>
      </p:grpSp>
      <p:grpSp>
        <p:nvGrpSpPr>
          <p:cNvPr id="174" name="Grupo 173">
            <a:extLst>
              <a:ext uri="{FF2B5EF4-FFF2-40B4-BE49-F238E27FC236}">
                <a16:creationId xmlns:a16="http://schemas.microsoft.com/office/drawing/2014/main" id="{293B89F5-34F9-48BD-A800-A407A66C3240}"/>
              </a:ext>
            </a:extLst>
          </p:cNvPr>
          <p:cNvGrpSpPr/>
          <p:nvPr/>
        </p:nvGrpSpPr>
        <p:grpSpPr>
          <a:xfrm>
            <a:off x="7938838" y="4166776"/>
            <a:ext cx="1314167" cy="347770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75" name="Rectángulo: esquinas redondeadas 174">
              <a:extLst>
                <a:ext uri="{FF2B5EF4-FFF2-40B4-BE49-F238E27FC236}">
                  <a16:creationId xmlns:a16="http://schemas.microsoft.com/office/drawing/2014/main" id="{C3DC524B-DBFD-4279-B6FF-ACAB0B50D9D3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76" name="Rectángulo: esquinas redondeadas 4">
              <a:extLst>
                <a:ext uri="{FF2B5EF4-FFF2-40B4-BE49-F238E27FC236}">
                  <a16:creationId xmlns:a16="http://schemas.microsoft.com/office/drawing/2014/main" id="{8DA62E21-8404-4942-9AFD-8E7E8A8DF22C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king/Staging</a:t>
              </a:r>
            </a:p>
          </p:txBody>
        </p:sp>
      </p:grpSp>
      <p:sp>
        <p:nvSpPr>
          <p:cNvPr id="177" name="Rectángulo: esquinas redondeadas 176">
            <a:extLst>
              <a:ext uri="{FF2B5EF4-FFF2-40B4-BE49-F238E27FC236}">
                <a16:creationId xmlns:a16="http://schemas.microsoft.com/office/drawing/2014/main" id="{92D01EAC-D29A-486A-BEA2-A03A6A73E5AC}"/>
              </a:ext>
            </a:extLst>
          </p:cNvPr>
          <p:cNvSpPr/>
          <p:nvPr/>
        </p:nvSpPr>
        <p:spPr>
          <a:xfrm rot="16200000">
            <a:off x="4658597" y="3069321"/>
            <a:ext cx="3124093" cy="259201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rehousing Storag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e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8" name="Flecha abajo 7">
            <a:extLst>
              <a:ext uri="{FF2B5EF4-FFF2-40B4-BE49-F238E27FC236}">
                <a16:creationId xmlns:a16="http://schemas.microsoft.com/office/drawing/2014/main" id="{F12DECF9-039D-4894-9541-016F2B20362C}"/>
              </a:ext>
            </a:extLst>
          </p:cNvPr>
          <p:cNvSpPr/>
          <p:nvPr/>
        </p:nvSpPr>
        <p:spPr>
          <a:xfrm rot="16200000">
            <a:off x="7239894" y="4214208"/>
            <a:ext cx="639224" cy="379711"/>
          </a:xfrm>
          <a:prstGeom prst="downArrow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9" name="Grupo 178">
            <a:extLst>
              <a:ext uri="{FF2B5EF4-FFF2-40B4-BE49-F238E27FC236}">
                <a16:creationId xmlns:a16="http://schemas.microsoft.com/office/drawing/2014/main" id="{8223F9EE-82B6-4BA5-954C-1DE370D45B4E}"/>
              </a:ext>
            </a:extLst>
          </p:cNvPr>
          <p:cNvGrpSpPr/>
          <p:nvPr/>
        </p:nvGrpSpPr>
        <p:grpSpPr>
          <a:xfrm>
            <a:off x="5208623" y="3893727"/>
            <a:ext cx="1755979" cy="335244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80" name="Rectángulo: esquinas redondeadas 179">
              <a:extLst>
                <a:ext uri="{FF2B5EF4-FFF2-40B4-BE49-F238E27FC236}">
                  <a16:creationId xmlns:a16="http://schemas.microsoft.com/office/drawing/2014/main" id="{BEC3F5E2-A1B4-4EAA-96C7-D7160813B894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81" name="Rectángulo: esquinas redondeadas 4">
              <a:extLst>
                <a:ext uri="{FF2B5EF4-FFF2-40B4-BE49-F238E27FC236}">
                  <a16:creationId xmlns:a16="http://schemas.microsoft.com/office/drawing/2014/main" id="{7FC8F1CD-BE36-4C9F-9F8F-252150AD0678}"/>
                </a:ext>
              </a:extLst>
            </p:cNvPr>
            <p:cNvSpPr txBox="1"/>
            <p:nvPr/>
          </p:nvSpPr>
          <p:spPr>
            <a:xfrm>
              <a:off x="2345405" y="1249937"/>
              <a:ext cx="1992472" cy="1466892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orage &amp; Handling</a:t>
              </a:r>
            </a:p>
          </p:txBody>
        </p:sp>
      </p:grpSp>
      <p:grpSp>
        <p:nvGrpSpPr>
          <p:cNvPr id="182" name="Grupo 181">
            <a:extLst>
              <a:ext uri="{FF2B5EF4-FFF2-40B4-BE49-F238E27FC236}">
                <a16:creationId xmlns:a16="http://schemas.microsoft.com/office/drawing/2014/main" id="{DF61603C-0EED-45C5-A8AF-A397D5AE01F9}"/>
              </a:ext>
            </a:extLst>
          </p:cNvPr>
          <p:cNvGrpSpPr/>
          <p:nvPr/>
        </p:nvGrpSpPr>
        <p:grpSpPr>
          <a:xfrm>
            <a:off x="5530897" y="4326109"/>
            <a:ext cx="1162071" cy="314944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83" name="Rectángulo: esquinas redondeadas 182">
              <a:extLst>
                <a:ext uri="{FF2B5EF4-FFF2-40B4-BE49-F238E27FC236}">
                  <a16:creationId xmlns:a16="http://schemas.microsoft.com/office/drawing/2014/main" id="{7C242D2C-DA2D-4770-BB1F-5BB664E6E051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84" name="Rectángulo: esquinas redondeadas 4">
              <a:extLst>
                <a:ext uri="{FF2B5EF4-FFF2-40B4-BE49-F238E27FC236}">
                  <a16:creationId xmlns:a16="http://schemas.microsoft.com/office/drawing/2014/main" id="{BE6111DE-B1CB-40B5-B32C-38DB0148F960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icking</a:t>
              </a:r>
            </a:p>
          </p:txBody>
        </p:sp>
      </p:grpSp>
      <p:grpSp>
        <p:nvGrpSpPr>
          <p:cNvPr id="185" name="Grupo 184">
            <a:extLst>
              <a:ext uri="{FF2B5EF4-FFF2-40B4-BE49-F238E27FC236}">
                <a16:creationId xmlns:a16="http://schemas.microsoft.com/office/drawing/2014/main" id="{DF490394-C560-432A-990F-15C8CBC94F16}"/>
              </a:ext>
            </a:extLst>
          </p:cNvPr>
          <p:cNvGrpSpPr/>
          <p:nvPr/>
        </p:nvGrpSpPr>
        <p:grpSpPr>
          <a:xfrm>
            <a:off x="5536690" y="4765273"/>
            <a:ext cx="1162071" cy="314944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86" name="Rectángulo: esquinas redondeadas 185">
              <a:extLst>
                <a:ext uri="{FF2B5EF4-FFF2-40B4-BE49-F238E27FC236}">
                  <a16:creationId xmlns:a16="http://schemas.microsoft.com/office/drawing/2014/main" id="{3189222C-EF29-4CCF-8EA3-25094624A693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87" name="Rectángulo: esquinas redondeadas 4">
              <a:extLst>
                <a:ext uri="{FF2B5EF4-FFF2-40B4-BE49-F238E27FC236}">
                  <a16:creationId xmlns:a16="http://schemas.microsoft.com/office/drawing/2014/main" id="{7A1C78A7-A20C-4066-ADCF-4A6ED046308C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ross Dock</a:t>
              </a:r>
            </a:p>
          </p:txBody>
        </p:sp>
      </p:grpSp>
      <p:grpSp>
        <p:nvGrpSpPr>
          <p:cNvPr id="191" name="Grupo 190">
            <a:extLst>
              <a:ext uri="{FF2B5EF4-FFF2-40B4-BE49-F238E27FC236}">
                <a16:creationId xmlns:a16="http://schemas.microsoft.com/office/drawing/2014/main" id="{2B060571-ABCF-43BD-9A65-0683EE2E22C8}"/>
              </a:ext>
            </a:extLst>
          </p:cNvPr>
          <p:cNvGrpSpPr/>
          <p:nvPr/>
        </p:nvGrpSpPr>
        <p:grpSpPr>
          <a:xfrm>
            <a:off x="5227124" y="5533778"/>
            <a:ext cx="1807930" cy="310055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92" name="Rectángulo: esquinas redondeadas 191">
              <a:extLst>
                <a:ext uri="{FF2B5EF4-FFF2-40B4-BE49-F238E27FC236}">
                  <a16:creationId xmlns:a16="http://schemas.microsoft.com/office/drawing/2014/main" id="{6B07656F-9F29-46A4-A037-1755597C6024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93" name="Rectángulo: esquinas redondeadas 4">
              <a:extLst>
                <a:ext uri="{FF2B5EF4-FFF2-40B4-BE49-F238E27FC236}">
                  <a16:creationId xmlns:a16="http://schemas.microsoft.com/office/drawing/2014/main" id="{5AA07971-595A-45DA-99AA-9F41EE62C38B}"/>
                </a:ext>
              </a:extLst>
            </p:cNvPr>
            <p:cNvSpPr txBox="1"/>
            <p:nvPr/>
          </p:nvSpPr>
          <p:spPr>
            <a:xfrm>
              <a:off x="2289908" y="1314768"/>
              <a:ext cx="2075579" cy="1366264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Quarantine &amp;  Blocked</a:t>
              </a:r>
            </a:p>
          </p:txBody>
        </p:sp>
      </p:grpSp>
      <p:grpSp>
        <p:nvGrpSpPr>
          <p:cNvPr id="194" name="Grupo 193">
            <a:extLst>
              <a:ext uri="{FF2B5EF4-FFF2-40B4-BE49-F238E27FC236}">
                <a16:creationId xmlns:a16="http://schemas.microsoft.com/office/drawing/2014/main" id="{39C2EC41-15DF-48FD-84AD-3269149599EF}"/>
              </a:ext>
            </a:extLst>
          </p:cNvPr>
          <p:cNvGrpSpPr/>
          <p:nvPr/>
        </p:nvGrpSpPr>
        <p:grpSpPr>
          <a:xfrm>
            <a:off x="5237369" y="5158242"/>
            <a:ext cx="1755979" cy="272154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95" name="Rectángulo: esquinas redondeadas 194">
              <a:extLst>
                <a:ext uri="{FF2B5EF4-FFF2-40B4-BE49-F238E27FC236}">
                  <a16:creationId xmlns:a16="http://schemas.microsoft.com/office/drawing/2014/main" id="{68C334D2-09A0-47FB-9BBC-B8F44BF943DC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96" name="Rectángulo: esquinas redondeadas 4">
              <a:extLst>
                <a:ext uri="{FF2B5EF4-FFF2-40B4-BE49-F238E27FC236}">
                  <a16:creationId xmlns:a16="http://schemas.microsoft.com/office/drawing/2014/main" id="{2B63F5BF-AF0C-430B-B833-D99845CEFDEB}"/>
                </a:ext>
              </a:extLst>
            </p:cNvPr>
            <p:cNvSpPr txBox="1"/>
            <p:nvPr/>
          </p:nvSpPr>
          <p:spPr>
            <a:xfrm>
              <a:off x="2334871" y="1298553"/>
              <a:ext cx="1992472" cy="1439077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/Re-Packing </a:t>
              </a:r>
            </a:p>
          </p:txBody>
        </p:sp>
      </p:grpSp>
      <p:sp>
        <p:nvSpPr>
          <p:cNvPr id="197" name="Rectángulo 196">
            <a:extLst>
              <a:ext uri="{FF2B5EF4-FFF2-40B4-BE49-F238E27FC236}">
                <a16:creationId xmlns:a16="http://schemas.microsoft.com/office/drawing/2014/main" id="{54B43DF2-4A9F-40A8-B75C-23399555ED2F}"/>
              </a:ext>
            </a:extLst>
          </p:cNvPr>
          <p:cNvSpPr/>
          <p:nvPr/>
        </p:nvSpPr>
        <p:spPr>
          <a:xfrm>
            <a:off x="2005031" y="77609"/>
            <a:ext cx="84281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8" name="Rectángulo: esquinas redondeadas 197">
            <a:extLst>
              <a:ext uri="{FF2B5EF4-FFF2-40B4-BE49-F238E27FC236}">
                <a16:creationId xmlns:a16="http://schemas.microsoft.com/office/drawing/2014/main" id="{3AB1CA94-A332-4E21-B9A2-B25B27E6A40B}"/>
              </a:ext>
            </a:extLst>
          </p:cNvPr>
          <p:cNvSpPr/>
          <p:nvPr/>
        </p:nvSpPr>
        <p:spPr>
          <a:xfrm>
            <a:off x="83446" y="515001"/>
            <a:ext cx="562933" cy="567682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</p:txBody>
      </p:sp>
      <p:grpSp>
        <p:nvGrpSpPr>
          <p:cNvPr id="200" name="Grupo 199">
            <a:extLst>
              <a:ext uri="{FF2B5EF4-FFF2-40B4-BE49-F238E27FC236}">
                <a16:creationId xmlns:a16="http://schemas.microsoft.com/office/drawing/2014/main" id="{43CCF50E-D09E-4D6D-9CF7-9B7BE0E8C914}"/>
              </a:ext>
            </a:extLst>
          </p:cNvPr>
          <p:cNvGrpSpPr/>
          <p:nvPr/>
        </p:nvGrpSpPr>
        <p:grpSpPr>
          <a:xfrm>
            <a:off x="4807713" y="2032046"/>
            <a:ext cx="1674161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201" name="Rectángulo: esquinas redondeadas 200">
              <a:extLst>
                <a:ext uri="{FF2B5EF4-FFF2-40B4-BE49-F238E27FC236}">
                  <a16:creationId xmlns:a16="http://schemas.microsoft.com/office/drawing/2014/main" id="{8364377C-BCDA-41B8-AE01-727BCE698C53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202" name="Rectángulo: esquinas redondeadas 4">
              <a:extLst>
                <a:ext uri="{FF2B5EF4-FFF2-40B4-BE49-F238E27FC236}">
                  <a16:creationId xmlns:a16="http://schemas.microsoft.com/office/drawing/2014/main" id="{BB5D210A-2E2A-4202-98F0-FBBB0AABD9DF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89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sourse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&amp;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apabilities</a:t>
              </a:r>
            </a:p>
          </p:txBody>
        </p:sp>
      </p:grpSp>
      <p:sp>
        <p:nvSpPr>
          <p:cNvPr id="203" name="Title 2">
            <a:extLst>
              <a:ext uri="{FF2B5EF4-FFF2-40B4-BE49-F238E27FC236}">
                <a16:creationId xmlns:a16="http://schemas.microsoft.com/office/drawing/2014/main" id="{CF0434E8-81D1-4A02-9F8D-6FFF3B21527B}"/>
              </a:ext>
            </a:extLst>
          </p:cNvPr>
          <p:cNvSpPr txBox="1">
            <a:spLocks/>
          </p:cNvSpPr>
          <p:nvPr/>
        </p:nvSpPr>
        <p:spPr>
          <a:xfrm>
            <a:off x="-18676" y="33979"/>
            <a:ext cx="11986154" cy="79897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Macro – Distribution Center Process  Flow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 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48570C-A5FD-4AAA-BFBE-D50889DC9130}"/>
              </a:ext>
            </a:extLst>
          </p:cNvPr>
          <p:cNvSpPr/>
          <p:nvPr/>
        </p:nvSpPr>
        <p:spPr>
          <a:xfrm>
            <a:off x="767411" y="2581124"/>
            <a:ext cx="1598039" cy="301205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port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der management (Customer Requirements/ Phasing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ur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.Planning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&amp; DRP (SMOB/ obsoletes 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ion Pla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&amp;E (Pallet design)</a:t>
            </a:r>
          </a:p>
        </p:txBody>
      </p:sp>
      <p:grpSp>
        <p:nvGrpSpPr>
          <p:cNvPr id="74" name="Grupo 79">
            <a:extLst>
              <a:ext uri="{FF2B5EF4-FFF2-40B4-BE49-F238E27FC236}">
                <a16:creationId xmlns:a16="http://schemas.microsoft.com/office/drawing/2014/main" id="{54BCF4F2-CCDB-406F-AF97-9FF309ECACAD}"/>
              </a:ext>
            </a:extLst>
          </p:cNvPr>
          <p:cNvGrpSpPr/>
          <p:nvPr/>
        </p:nvGrpSpPr>
        <p:grpSpPr>
          <a:xfrm>
            <a:off x="731823" y="2126073"/>
            <a:ext cx="1600196" cy="379462"/>
            <a:chOff x="2266050" y="1219199"/>
            <a:chExt cx="2151182" cy="1625600"/>
          </a:xfrm>
          <a:solidFill>
            <a:schemeClr val="bg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75" name="Rectángulo: esquinas redondeadas 87">
              <a:extLst>
                <a:ext uri="{FF2B5EF4-FFF2-40B4-BE49-F238E27FC236}">
                  <a16:creationId xmlns:a16="http://schemas.microsoft.com/office/drawing/2014/main" id="{B912D3CF-A2FE-41E3-AE5D-B4FF587F5F2C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76" name="Rectángulo: esquinas redondeadas 4">
              <a:extLst>
                <a:ext uri="{FF2B5EF4-FFF2-40B4-BE49-F238E27FC236}">
                  <a16:creationId xmlns:a16="http://schemas.microsoft.com/office/drawing/2014/main" id="{D668DA08-4DD5-4F93-82FA-9EB3F60B85B1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8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PUTS</a:t>
              </a:r>
            </a:p>
          </p:txBody>
        </p: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EA0A8329-77C3-4662-8DB6-27EABE2F8B95}"/>
              </a:ext>
            </a:extLst>
          </p:cNvPr>
          <p:cNvSpPr/>
          <p:nvPr/>
        </p:nvSpPr>
        <p:spPr>
          <a:xfrm>
            <a:off x="9815264" y="2635866"/>
            <a:ext cx="1598039" cy="301205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Customer Satisfa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TI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Cost to ser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Retur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RFT – Damage Produc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 I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9" name="Grupo 79">
            <a:extLst>
              <a:ext uri="{FF2B5EF4-FFF2-40B4-BE49-F238E27FC236}">
                <a16:creationId xmlns:a16="http://schemas.microsoft.com/office/drawing/2014/main" id="{BF4304CD-3353-4185-AF39-56D92EF67284}"/>
              </a:ext>
            </a:extLst>
          </p:cNvPr>
          <p:cNvGrpSpPr/>
          <p:nvPr/>
        </p:nvGrpSpPr>
        <p:grpSpPr>
          <a:xfrm>
            <a:off x="9779676" y="2180815"/>
            <a:ext cx="1600196" cy="379462"/>
            <a:chOff x="2266050" y="1219199"/>
            <a:chExt cx="2151182" cy="1625600"/>
          </a:xfrm>
          <a:solidFill>
            <a:schemeClr val="bg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81" name="Rectángulo: esquinas redondeadas 87">
              <a:extLst>
                <a:ext uri="{FF2B5EF4-FFF2-40B4-BE49-F238E27FC236}">
                  <a16:creationId xmlns:a16="http://schemas.microsoft.com/office/drawing/2014/main" id="{732DE82F-20F7-41A7-BCD6-489D91C77CC7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82" name="Rectángulo: esquinas redondeadas 4">
              <a:extLst>
                <a:ext uri="{FF2B5EF4-FFF2-40B4-BE49-F238E27FC236}">
                  <a16:creationId xmlns:a16="http://schemas.microsoft.com/office/drawing/2014/main" id="{113E77AC-4CD7-4D24-A943-75FE9FB3994C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8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UTPUTS</a:t>
              </a:r>
            </a:p>
          </p:txBody>
        </p:sp>
      </p:grpSp>
      <p:grpSp>
        <p:nvGrpSpPr>
          <p:cNvPr id="83" name="Grupo 148">
            <a:extLst>
              <a:ext uri="{FF2B5EF4-FFF2-40B4-BE49-F238E27FC236}">
                <a16:creationId xmlns:a16="http://schemas.microsoft.com/office/drawing/2014/main" id="{1E9A34EA-2D2F-4975-847B-A6C882B03673}"/>
              </a:ext>
            </a:extLst>
          </p:cNvPr>
          <p:cNvGrpSpPr/>
          <p:nvPr/>
        </p:nvGrpSpPr>
        <p:grpSpPr>
          <a:xfrm>
            <a:off x="5534853" y="3524982"/>
            <a:ext cx="1162071" cy="314944"/>
            <a:chOff x="7710564" y="5470088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84" name="Rectángulo: esquinas redondeadas 149">
              <a:extLst>
                <a:ext uri="{FF2B5EF4-FFF2-40B4-BE49-F238E27FC236}">
                  <a16:creationId xmlns:a16="http://schemas.microsoft.com/office/drawing/2014/main" id="{31982D77-A511-4EB2-B261-56CB6824E3EC}"/>
                </a:ext>
              </a:extLst>
            </p:cNvPr>
            <p:cNvSpPr/>
            <p:nvPr/>
          </p:nvSpPr>
          <p:spPr>
            <a:xfrm>
              <a:off x="7710564" y="5470088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Rectángulo: esquinas redondeadas 4">
              <a:extLst>
                <a:ext uri="{FF2B5EF4-FFF2-40B4-BE49-F238E27FC236}">
                  <a16:creationId xmlns:a16="http://schemas.microsoft.com/office/drawing/2014/main" id="{93E88060-7F26-4789-B969-F6762F1350A9}"/>
                </a:ext>
              </a:extLst>
            </p:cNvPr>
            <p:cNvSpPr txBox="1"/>
            <p:nvPr/>
          </p:nvSpPr>
          <p:spPr>
            <a:xfrm>
              <a:off x="7789919" y="5549443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>
              <a:defPPr>
                <a:defRPr lang="es-A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ut-Awa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867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0E8989-57DC-4966-91C5-D22E2A068D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0E8989-57DC-4966-91C5-D22E2A068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0A7B96A-A7E3-433A-BE76-C84F030A19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3" name="Title 2">
            <a:extLst>
              <a:ext uri="{FF2B5EF4-FFF2-40B4-BE49-F238E27FC236}">
                <a16:creationId xmlns:a16="http://schemas.microsoft.com/office/drawing/2014/main" id="{54A7022F-10C8-4C9E-B074-8282C900C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722" y="96398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LAO Warehouses Process</a:t>
            </a:r>
            <a:br>
              <a:rPr lang="en-US" sz="3600" dirty="0"/>
            </a:br>
            <a:r>
              <a:rPr lang="en-US" b="0" dirty="0"/>
              <a:t>Warehouses</a:t>
            </a:r>
            <a:br>
              <a:rPr lang="en-US" b="0" dirty="0"/>
            </a:br>
            <a:br>
              <a:rPr lang="en-US" sz="2200" dirty="0"/>
            </a:br>
            <a:r>
              <a:rPr lang="en-US" sz="2200" dirty="0"/>
              <a:t> </a:t>
            </a:r>
          </a:p>
        </p:txBody>
      </p:sp>
      <p:graphicFrame>
        <p:nvGraphicFramePr>
          <p:cNvPr id="114" name="Diagrama 22">
            <a:extLst>
              <a:ext uri="{FF2B5EF4-FFF2-40B4-BE49-F238E27FC236}">
                <a16:creationId xmlns:a16="http://schemas.microsoft.com/office/drawing/2014/main" id="{04B6CAC1-BAD7-4F1A-96AE-4DD5CE1FC54A}"/>
              </a:ext>
            </a:extLst>
          </p:cNvPr>
          <p:cNvGraphicFramePr/>
          <p:nvPr/>
        </p:nvGraphicFramePr>
        <p:xfrm>
          <a:off x="-575511" y="1058558"/>
          <a:ext cx="13343022" cy="3997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5" name="Rectangle 9">
            <a:extLst>
              <a:ext uri="{FF2B5EF4-FFF2-40B4-BE49-F238E27FC236}">
                <a16:creationId xmlns:a16="http://schemas.microsoft.com/office/drawing/2014/main" id="{7CF76D23-D9E6-4952-BC03-3C909B3D96C5}"/>
              </a:ext>
            </a:extLst>
          </p:cNvPr>
          <p:cNvSpPr/>
          <p:nvPr/>
        </p:nvSpPr>
        <p:spPr>
          <a:xfrm>
            <a:off x="8657633" y="1448434"/>
            <a:ext cx="3521624" cy="267584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ort all activities for planning and executing physical inventory in the corrects way and preservation &amp; support all activities to manage a Warehous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ntory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rastructur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 MOV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urces &amp; Capabil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cea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usekeep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 Servic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port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cur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urement</a:t>
            </a:r>
          </a:p>
        </p:txBody>
      </p:sp>
      <p:sp>
        <p:nvSpPr>
          <p:cNvPr id="116" name="Rectangle 9">
            <a:extLst>
              <a:ext uri="{FF2B5EF4-FFF2-40B4-BE49-F238E27FC236}">
                <a16:creationId xmlns:a16="http://schemas.microsoft.com/office/drawing/2014/main" id="{8090B92B-8214-451B-815D-A4CD477B9B4A}"/>
              </a:ext>
            </a:extLst>
          </p:cNvPr>
          <p:cNvSpPr/>
          <p:nvPr/>
        </p:nvSpPr>
        <p:spPr>
          <a:xfrm>
            <a:off x="299823" y="1426106"/>
            <a:ext cx="2502157" cy="2120167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l movements and storage of materia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do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 Labelled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uardado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 Put-Awa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/ Handl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oss Dock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/Re-Packing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rantine &amp;  Blocked</a:t>
            </a:r>
          </a:p>
        </p:txBody>
      </p:sp>
      <p:sp>
        <p:nvSpPr>
          <p:cNvPr id="117" name="Rectangle 9">
            <a:extLst>
              <a:ext uri="{FF2B5EF4-FFF2-40B4-BE49-F238E27FC236}">
                <a16:creationId xmlns:a16="http://schemas.microsoft.com/office/drawing/2014/main" id="{64D814C5-02CC-4658-9372-29384704AE5D}"/>
              </a:ext>
            </a:extLst>
          </p:cNvPr>
          <p:cNvSpPr/>
          <p:nvPr/>
        </p:nvSpPr>
        <p:spPr>
          <a:xfrm>
            <a:off x="335435" y="4004678"/>
            <a:ext cx="3198278" cy="16381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ludes all the steps of an external process that occur when the products are receiv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pción-Descarg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/ Unload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olucione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/Return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18" name="Rectangle 9">
            <a:extLst>
              <a:ext uri="{FF2B5EF4-FFF2-40B4-BE49-F238E27FC236}">
                <a16:creationId xmlns:a16="http://schemas.microsoft.com/office/drawing/2014/main" id="{D3E2F40E-BC79-4F4B-A391-4F665A9FA3F7}"/>
              </a:ext>
            </a:extLst>
          </p:cNvPr>
          <p:cNvSpPr/>
          <p:nvPr/>
        </p:nvSpPr>
        <p:spPr>
          <a:xfrm>
            <a:off x="8953871" y="4812016"/>
            <a:ext cx="3697416" cy="139004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the processes to prepares and sh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ducts to their destin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C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paració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/Packing/Stag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ga-Despacho / Load-Shipping</a:t>
            </a:r>
          </a:p>
        </p:txBody>
      </p:sp>
      <p:sp>
        <p:nvSpPr>
          <p:cNvPr id="119" name="Rectángulo: esquinas redondeadas 27">
            <a:extLst>
              <a:ext uri="{FF2B5EF4-FFF2-40B4-BE49-F238E27FC236}">
                <a16:creationId xmlns:a16="http://schemas.microsoft.com/office/drawing/2014/main" id="{3D270F59-5ED1-4DDE-B2BC-8AB4C4DD9724}"/>
              </a:ext>
            </a:extLst>
          </p:cNvPr>
          <p:cNvSpPr/>
          <p:nvPr/>
        </p:nvSpPr>
        <p:spPr>
          <a:xfrm>
            <a:off x="4942313" y="5113535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spcFirstLastPara="0" vert="horz" wrap="square" lIns="8890" tIns="8890" rIns="8890" bIns="8890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ndards</a:t>
            </a:r>
          </a:p>
        </p:txBody>
      </p:sp>
      <p:sp>
        <p:nvSpPr>
          <p:cNvPr id="120" name="Rectángulo: esquinas redondeadas 28">
            <a:extLst>
              <a:ext uri="{FF2B5EF4-FFF2-40B4-BE49-F238E27FC236}">
                <a16:creationId xmlns:a16="http://schemas.microsoft.com/office/drawing/2014/main" id="{97CFEDAE-329B-476F-B8CF-AAB8A512C831}"/>
              </a:ext>
            </a:extLst>
          </p:cNvPr>
          <p:cNvSpPr/>
          <p:nvPr/>
        </p:nvSpPr>
        <p:spPr>
          <a:xfrm>
            <a:off x="4948441" y="5527418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ot="0" spcFirstLastPara="0" vertOverflow="overflow" horzOverflow="overflow" vert="horz" wrap="square" lIns="8890" tIns="8890" rIns="8890" bIns="889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rics</a:t>
            </a:r>
          </a:p>
        </p:txBody>
      </p:sp>
      <p:sp>
        <p:nvSpPr>
          <p:cNvPr id="121" name="Rectángulo: esquinas redondeadas 29">
            <a:extLst>
              <a:ext uri="{FF2B5EF4-FFF2-40B4-BE49-F238E27FC236}">
                <a16:creationId xmlns:a16="http://schemas.microsoft.com/office/drawing/2014/main" id="{CE4581FB-ED6C-4879-9096-633639CB95E0}"/>
              </a:ext>
            </a:extLst>
          </p:cNvPr>
          <p:cNvSpPr/>
          <p:nvPr/>
        </p:nvSpPr>
        <p:spPr>
          <a:xfrm>
            <a:off x="4942313" y="5934079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ot="0" spcFirstLastPara="0" vertOverflow="overflow" horzOverflow="overflow" vert="horz" wrap="square" lIns="8890" tIns="8890" rIns="8890" bIns="889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inues Improvement</a:t>
            </a:r>
          </a:p>
        </p:txBody>
      </p:sp>
      <p:cxnSp>
        <p:nvCxnSpPr>
          <p:cNvPr id="122" name="Straight Connector 23">
            <a:extLst>
              <a:ext uri="{FF2B5EF4-FFF2-40B4-BE49-F238E27FC236}">
                <a16:creationId xmlns:a16="http://schemas.microsoft.com/office/drawing/2014/main" id="{76142F5C-C951-4AF6-9121-ECF554EEC003}"/>
              </a:ext>
            </a:extLst>
          </p:cNvPr>
          <p:cNvCxnSpPr>
            <a:cxnSpLocks/>
          </p:cNvCxnSpPr>
          <p:nvPr/>
        </p:nvCxnSpPr>
        <p:spPr>
          <a:xfrm>
            <a:off x="2764439" y="3057134"/>
            <a:ext cx="2318029" cy="0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23">
            <a:extLst>
              <a:ext uri="{FF2B5EF4-FFF2-40B4-BE49-F238E27FC236}">
                <a16:creationId xmlns:a16="http://schemas.microsoft.com/office/drawing/2014/main" id="{454DF32F-F561-4700-B595-5AB869F3BD43}"/>
              </a:ext>
            </a:extLst>
          </p:cNvPr>
          <p:cNvCxnSpPr>
            <a:cxnSpLocks/>
          </p:cNvCxnSpPr>
          <p:nvPr/>
        </p:nvCxnSpPr>
        <p:spPr>
          <a:xfrm>
            <a:off x="7884321" y="4925056"/>
            <a:ext cx="1069550" cy="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23">
            <a:extLst>
              <a:ext uri="{FF2B5EF4-FFF2-40B4-BE49-F238E27FC236}">
                <a16:creationId xmlns:a16="http://schemas.microsoft.com/office/drawing/2014/main" id="{91FFFC6B-329B-4BFC-912D-F6D3C6283BF3}"/>
              </a:ext>
            </a:extLst>
          </p:cNvPr>
          <p:cNvCxnSpPr>
            <a:cxnSpLocks/>
          </p:cNvCxnSpPr>
          <p:nvPr/>
        </p:nvCxnSpPr>
        <p:spPr>
          <a:xfrm>
            <a:off x="3669475" y="4528216"/>
            <a:ext cx="81578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23">
            <a:extLst>
              <a:ext uri="{FF2B5EF4-FFF2-40B4-BE49-F238E27FC236}">
                <a16:creationId xmlns:a16="http://schemas.microsoft.com/office/drawing/2014/main" id="{3B80667C-4CE6-4AF6-83BE-C0244910F03E}"/>
              </a:ext>
            </a:extLst>
          </p:cNvPr>
          <p:cNvCxnSpPr>
            <a:cxnSpLocks/>
          </p:cNvCxnSpPr>
          <p:nvPr/>
        </p:nvCxnSpPr>
        <p:spPr>
          <a:xfrm>
            <a:off x="6605337" y="2060389"/>
            <a:ext cx="1950834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23">
            <a:extLst>
              <a:ext uri="{FF2B5EF4-FFF2-40B4-BE49-F238E27FC236}">
                <a16:creationId xmlns:a16="http://schemas.microsoft.com/office/drawing/2014/main" id="{9FCF6A60-721B-4E6C-BC4C-2DD2D49ED163}"/>
              </a:ext>
            </a:extLst>
          </p:cNvPr>
          <p:cNvCxnSpPr>
            <a:cxnSpLocks/>
          </p:cNvCxnSpPr>
          <p:nvPr/>
        </p:nvCxnSpPr>
        <p:spPr>
          <a:xfrm flipV="1">
            <a:off x="3669475" y="4051330"/>
            <a:ext cx="0" cy="1521371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23">
            <a:extLst>
              <a:ext uri="{FF2B5EF4-FFF2-40B4-BE49-F238E27FC236}">
                <a16:creationId xmlns:a16="http://schemas.microsoft.com/office/drawing/2014/main" id="{1C3C068B-55B1-4247-8DB6-7194982A2A72}"/>
              </a:ext>
            </a:extLst>
          </p:cNvPr>
          <p:cNvCxnSpPr>
            <a:cxnSpLocks/>
          </p:cNvCxnSpPr>
          <p:nvPr/>
        </p:nvCxnSpPr>
        <p:spPr>
          <a:xfrm flipV="1">
            <a:off x="2764439" y="1628194"/>
            <a:ext cx="0" cy="1756114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23">
            <a:extLst>
              <a:ext uri="{FF2B5EF4-FFF2-40B4-BE49-F238E27FC236}">
                <a16:creationId xmlns:a16="http://schemas.microsoft.com/office/drawing/2014/main" id="{3E0B4F2A-7F0B-4E53-ADB9-C52212F1583D}"/>
              </a:ext>
            </a:extLst>
          </p:cNvPr>
          <p:cNvCxnSpPr>
            <a:cxnSpLocks/>
          </p:cNvCxnSpPr>
          <p:nvPr/>
        </p:nvCxnSpPr>
        <p:spPr>
          <a:xfrm flipV="1">
            <a:off x="8953871" y="4908647"/>
            <a:ext cx="0" cy="122183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23">
            <a:extLst>
              <a:ext uri="{FF2B5EF4-FFF2-40B4-BE49-F238E27FC236}">
                <a16:creationId xmlns:a16="http://schemas.microsoft.com/office/drawing/2014/main" id="{B200804D-80AE-4C86-800F-529F3B3DA468}"/>
              </a:ext>
            </a:extLst>
          </p:cNvPr>
          <p:cNvCxnSpPr>
            <a:cxnSpLocks/>
          </p:cNvCxnSpPr>
          <p:nvPr/>
        </p:nvCxnSpPr>
        <p:spPr>
          <a:xfrm flipH="1" flipV="1">
            <a:off x="8585584" y="925978"/>
            <a:ext cx="29415" cy="3254136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Flecha: a la derecha 47">
            <a:extLst>
              <a:ext uri="{FF2B5EF4-FFF2-40B4-BE49-F238E27FC236}">
                <a16:creationId xmlns:a16="http://schemas.microsoft.com/office/drawing/2014/main" id="{85CF0791-33E2-4053-9D93-38F352C85011}"/>
              </a:ext>
            </a:extLst>
          </p:cNvPr>
          <p:cNvSpPr/>
          <p:nvPr/>
        </p:nvSpPr>
        <p:spPr>
          <a:xfrm>
            <a:off x="5196513" y="3946360"/>
            <a:ext cx="1876922" cy="35583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" name="Flecha: a la derecha 48">
            <a:extLst>
              <a:ext uri="{FF2B5EF4-FFF2-40B4-BE49-F238E27FC236}">
                <a16:creationId xmlns:a16="http://schemas.microsoft.com/office/drawing/2014/main" id="{DC3DFD1F-B8B2-4462-BC05-09C9149D9BAA}"/>
              </a:ext>
            </a:extLst>
          </p:cNvPr>
          <p:cNvSpPr/>
          <p:nvPr/>
        </p:nvSpPr>
        <p:spPr>
          <a:xfrm rot="16200000">
            <a:off x="5938315" y="2875476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" name="Flecha: a la derecha 49">
            <a:extLst>
              <a:ext uri="{FF2B5EF4-FFF2-40B4-BE49-F238E27FC236}">
                <a16:creationId xmlns:a16="http://schemas.microsoft.com/office/drawing/2014/main" id="{3E4F3C97-36B8-4A49-BBD9-0C21C5A8716E}"/>
              </a:ext>
            </a:extLst>
          </p:cNvPr>
          <p:cNvSpPr/>
          <p:nvPr/>
        </p:nvSpPr>
        <p:spPr>
          <a:xfrm rot="17628540">
            <a:off x="5069577" y="2892940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3" name="Flecha: a la derecha 50">
            <a:extLst>
              <a:ext uri="{FF2B5EF4-FFF2-40B4-BE49-F238E27FC236}">
                <a16:creationId xmlns:a16="http://schemas.microsoft.com/office/drawing/2014/main" id="{AECDD0FC-03BA-4675-A802-C539ED35DB20}"/>
              </a:ext>
            </a:extLst>
          </p:cNvPr>
          <p:cNvSpPr/>
          <p:nvPr/>
        </p:nvSpPr>
        <p:spPr>
          <a:xfrm rot="14170453">
            <a:off x="6737519" y="2897136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4" name="Flecha: curvada hacia la izquierda 10">
            <a:extLst>
              <a:ext uri="{FF2B5EF4-FFF2-40B4-BE49-F238E27FC236}">
                <a16:creationId xmlns:a16="http://schemas.microsoft.com/office/drawing/2014/main" id="{4066F846-FB7D-4E77-9F5C-F1F8FDC3F934}"/>
              </a:ext>
            </a:extLst>
          </p:cNvPr>
          <p:cNvSpPr/>
          <p:nvPr/>
        </p:nvSpPr>
        <p:spPr>
          <a:xfrm>
            <a:off x="7442522" y="5280724"/>
            <a:ext cx="289770" cy="334379"/>
          </a:xfrm>
          <a:prstGeom prst="curvedLeftArrow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5" name="Flecha: curvada hacia la izquierda 36">
            <a:extLst>
              <a:ext uri="{FF2B5EF4-FFF2-40B4-BE49-F238E27FC236}">
                <a16:creationId xmlns:a16="http://schemas.microsoft.com/office/drawing/2014/main" id="{FA683676-0CB5-4D2B-9025-8B88411D0798}"/>
              </a:ext>
            </a:extLst>
          </p:cNvPr>
          <p:cNvSpPr/>
          <p:nvPr/>
        </p:nvSpPr>
        <p:spPr>
          <a:xfrm>
            <a:off x="7442522" y="5741031"/>
            <a:ext cx="289770" cy="334379"/>
          </a:xfrm>
          <a:prstGeom prst="curvedLeftArrow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ángulo: esquinas redondeadas 14">
            <a:extLst>
              <a:ext uri="{FF2B5EF4-FFF2-40B4-BE49-F238E27FC236}">
                <a16:creationId xmlns:a16="http://schemas.microsoft.com/office/drawing/2014/main" id="{8578E0A4-8600-4FFF-AC42-3CF5D894D0EA}"/>
              </a:ext>
            </a:extLst>
          </p:cNvPr>
          <p:cNvSpPr/>
          <p:nvPr/>
        </p:nvSpPr>
        <p:spPr>
          <a:xfrm>
            <a:off x="3341577" y="1292009"/>
            <a:ext cx="1407671" cy="258634"/>
          </a:xfrm>
          <a:prstGeom prst="round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 -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</a:t>
            </a:r>
          </a:p>
        </p:txBody>
      </p:sp>
      <p:sp>
        <p:nvSpPr>
          <p:cNvPr id="28" name="Rectángulo: esquinas redondeadas 14">
            <a:extLst>
              <a:ext uri="{FF2B5EF4-FFF2-40B4-BE49-F238E27FC236}">
                <a16:creationId xmlns:a16="http://schemas.microsoft.com/office/drawing/2014/main" id="{FFACE764-468D-49F0-828A-30842AA66ED4}"/>
              </a:ext>
            </a:extLst>
          </p:cNvPr>
          <p:cNvSpPr/>
          <p:nvPr/>
        </p:nvSpPr>
        <p:spPr>
          <a:xfrm>
            <a:off x="4599602" y="3989266"/>
            <a:ext cx="482866" cy="270017"/>
          </a:xfrm>
          <a:prstGeom prst="round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00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0000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ángulo: esquinas redondeadas 14">
            <a:extLst>
              <a:ext uri="{FF2B5EF4-FFF2-40B4-BE49-F238E27FC236}">
                <a16:creationId xmlns:a16="http://schemas.microsoft.com/office/drawing/2014/main" id="{BE709FD5-FFDD-4961-8E4B-B82B94AA0772}"/>
              </a:ext>
            </a:extLst>
          </p:cNvPr>
          <p:cNvSpPr/>
          <p:nvPr/>
        </p:nvSpPr>
        <p:spPr>
          <a:xfrm>
            <a:off x="5833382" y="4259283"/>
            <a:ext cx="482866" cy="270017"/>
          </a:xfrm>
          <a:prstGeom prst="round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00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0000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ángulo: esquinas redondeadas 14">
            <a:extLst>
              <a:ext uri="{FF2B5EF4-FFF2-40B4-BE49-F238E27FC236}">
                <a16:creationId xmlns:a16="http://schemas.microsoft.com/office/drawing/2014/main" id="{0781F12B-B79B-4C26-B7B8-CA0CBBC78876}"/>
              </a:ext>
            </a:extLst>
          </p:cNvPr>
          <p:cNvSpPr/>
          <p:nvPr/>
        </p:nvSpPr>
        <p:spPr>
          <a:xfrm>
            <a:off x="7102848" y="3990156"/>
            <a:ext cx="482866" cy="270017"/>
          </a:xfrm>
          <a:prstGeom prst="round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00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0000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ángulo: esquinas redondeadas 14">
            <a:extLst>
              <a:ext uri="{FF2B5EF4-FFF2-40B4-BE49-F238E27FC236}">
                <a16:creationId xmlns:a16="http://schemas.microsoft.com/office/drawing/2014/main" id="{53AF3616-66E0-4765-91B3-A794A2E9D576}"/>
              </a:ext>
            </a:extLst>
          </p:cNvPr>
          <p:cNvSpPr/>
          <p:nvPr/>
        </p:nvSpPr>
        <p:spPr>
          <a:xfrm>
            <a:off x="5836279" y="2015690"/>
            <a:ext cx="482866" cy="270017"/>
          </a:xfrm>
          <a:prstGeom prst="round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00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0000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14872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722" y="96398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s-AR" sz="3600" dirty="0" err="1"/>
              <a:t>Order</a:t>
            </a:r>
            <a:r>
              <a:rPr lang="es-AR" sz="3600" dirty="0"/>
              <a:t> Management </a:t>
            </a:r>
            <a:r>
              <a:rPr lang="es-AR" sz="3600" dirty="0" err="1"/>
              <a:t>Process</a:t>
            </a:r>
            <a:br>
              <a:rPr lang="en-US" sz="3600" dirty="0"/>
            </a:br>
            <a:r>
              <a:rPr lang="en-US" b="0" dirty="0"/>
              <a:t>Sales Order Service </a:t>
            </a:r>
            <a:br>
              <a:rPr lang="en-US" sz="4000" dirty="0"/>
            </a:br>
            <a:br>
              <a:rPr lang="en-US" sz="2200" dirty="0"/>
            </a:br>
            <a:r>
              <a:rPr lang="en-US" sz="2200" dirty="0"/>
              <a:t> </a:t>
            </a:r>
          </a:p>
        </p:txBody>
      </p:sp>
      <p:sp>
        <p:nvSpPr>
          <p:cNvPr id="141" name="Retângulo 71">
            <a:extLst>
              <a:ext uri="{FF2B5EF4-FFF2-40B4-BE49-F238E27FC236}">
                <a16:creationId xmlns:a16="http://schemas.microsoft.com/office/drawing/2014/main" id="{E8B1A8D1-76C6-40F2-A5FB-73647D9B26A7}"/>
              </a:ext>
            </a:extLst>
          </p:cNvPr>
          <p:cNvSpPr/>
          <p:nvPr/>
        </p:nvSpPr>
        <p:spPr>
          <a:xfrm>
            <a:off x="9127256" y="3801109"/>
            <a:ext cx="2519051" cy="146937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STOMER TRANSFORMATION</a:t>
            </a:r>
          </a:p>
        </p:txBody>
      </p:sp>
      <p:sp>
        <p:nvSpPr>
          <p:cNvPr id="142" name="Retângulo 78">
            <a:extLst>
              <a:ext uri="{FF2B5EF4-FFF2-40B4-BE49-F238E27FC236}">
                <a16:creationId xmlns:a16="http://schemas.microsoft.com/office/drawing/2014/main" id="{E27ECD3B-C964-4004-ABAD-7D091A0A1A80}"/>
              </a:ext>
            </a:extLst>
          </p:cNvPr>
          <p:cNvSpPr/>
          <p:nvPr/>
        </p:nvSpPr>
        <p:spPr>
          <a:xfrm>
            <a:off x="10264580" y="1754444"/>
            <a:ext cx="1864649" cy="1955749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PORTADOR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3" name="Retângulo 77">
            <a:extLst>
              <a:ext uri="{FF2B5EF4-FFF2-40B4-BE49-F238E27FC236}">
                <a16:creationId xmlns:a16="http://schemas.microsoft.com/office/drawing/2014/main" id="{73D15843-9E12-4B59-8ED6-980AE9379B84}"/>
              </a:ext>
            </a:extLst>
          </p:cNvPr>
          <p:cNvSpPr/>
          <p:nvPr/>
        </p:nvSpPr>
        <p:spPr>
          <a:xfrm>
            <a:off x="9074635" y="1755553"/>
            <a:ext cx="1142879" cy="1955749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D’s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4" name="Retângulo 76">
            <a:extLst>
              <a:ext uri="{FF2B5EF4-FFF2-40B4-BE49-F238E27FC236}">
                <a16:creationId xmlns:a16="http://schemas.microsoft.com/office/drawing/2014/main" id="{2544C3A7-E662-4221-9BA6-906DC82A50AA}"/>
              </a:ext>
            </a:extLst>
          </p:cNvPr>
          <p:cNvSpPr/>
          <p:nvPr/>
        </p:nvSpPr>
        <p:spPr>
          <a:xfrm>
            <a:off x="7546685" y="1743197"/>
            <a:ext cx="1476890" cy="1955749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MS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5" name="Retângulo 4">
            <a:extLst>
              <a:ext uri="{FF2B5EF4-FFF2-40B4-BE49-F238E27FC236}">
                <a16:creationId xmlns:a16="http://schemas.microsoft.com/office/drawing/2014/main" id="{FAA2F1FB-3B93-497D-B5FC-D3992562344A}"/>
              </a:ext>
            </a:extLst>
          </p:cNvPr>
          <p:cNvSpPr/>
          <p:nvPr/>
        </p:nvSpPr>
        <p:spPr>
          <a:xfrm>
            <a:off x="34852" y="1744795"/>
            <a:ext cx="7438639" cy="19557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DER MANAGEMENT</a:t>
            </a:r>
          </a:p>
        </p:txBody>
      </p:sp>
      <p:grpSp>
        <p:nvGrpSpPr>
          <p:cNvPr id="146" name="Agrupar 8">
            <a:extLst>
              <a:ext uri="{FF2B5EF4-FFF2-40B4-BE49-F238E27FC236}">
                <a16:creationId xmlns:a16="http://schemas.microsoft.com/office/drawing/2014/main" id="{B2B5C20C-A118-4281-860E-783F5F87708B}"/>
              </a:ext>
            </a:extLst>
          </p:cNvPr>
          <p:cNvGrpSpPr/>
          <p:nvPr/>
        </p:nvGrpSpPr>
        <p:grpSpPr>
          <a:xfrm>
            <a:off x="86835" y="2319519"/>
            <a:ext cx="7815965" cy="1225969"/>
            <a:chOff x="86835" y="2783762"/>
            <a:chExt cx="7815965" cy="1225969"/>
          </a:xfrm>
          <a:solidFill>
            <a:schemeClr val="tx1"/>
          </a:solidFill>
        </p:grpSpPr>
        <p:sp>
          <p:nvSpPr>
            <p:cNvPr id="147" name="CaixaDeTexto 32">
              <a:extLst>
                <a:ext uri="{FF2B5EF4-FFF2-40B4-BE49-F238E27FC236}">
                  <a16:creationId xmlns:a16="http://schemas.microsoft.com/office/drawing/2014/main" id="{9E4FF875-23C6-4FDF-8E53-451C3555117E}"/>
                </a:ext>
              </a:extLst>
            </p:cNvPr>
            <p:cNvSpPr txBox="1"/>
            <p:nvPr/>
          </p:nvSpPr>
          <p:spPr>
            <a:xfrm>
              <a:off x="86835" y="3573646"/>
              <a:ext cx="947881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rder</a:t>
              </a:r>
              <a:r>
                <a:rPr kumimoji="0" lang="pt-BR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try</a:t>
              </a:r>
              <a:endPara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8" name="Gráfico 147" descr="Documento">
              <a:extLst>
                <a:ext uri="{FF2B5EF4-FFF2-40B4-BE49-F238E27FC236}">
                  <a16:creationId xmlns:a16="http://schemas.microsoft.com/office/drawing/2014/main" id="{D67E9079-593B-41F7-BC7E-AB4D7AFD44E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82410" y="2826366"/>
              <a:ext cx="715948" cy="715948"/>
            </a:xfrm>
            <a:prstGeom prst="rect">
              <a:avLst/>
            </a:prstGeom>
          </p:spPr>
        </p:pic>
        <p:pic>
          <p:nvPicPr>
            <p:cNvPr id="149" name="Gráfico 148" descr="Dinheiro">
              <a:extLst>
                <a:ext uri="{FF2B5EF4-FFF2-40B4-BE49-F238E27FC236}">
                  <a16:creationId xmlns:a16="http://schemas.microsoft.com/office/drawing/2014/main" id="{FBD187EF-3EAD-4804-A9F9-D6FA720EB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664031" y="2783762"/>
              <a:ext cx="763014" cy="763014"/>
            </a:xfrm>
            <a:prstGeom prst="rect">
              <a:avLst/>
            </a:prstGeom>
          </p:spPr>
        </p:pic>
        <p:pic>
          <p:nvPicPr>
            <p:cNvPr id="150" name="Gráfico 149" descr="Bloqueio">
              <a:extLst>
                <a:ext uri="{FF2B5EF4-FFF2-40B4-BE49-F238E27FC236}">
                  <a16:creationId xmlns:a16="http://schemas.microsoft.com/office/drawing/2014/main" id="{9A428A3C-B7D6-4A74-A05D-753B548AD2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491191" y="2892486"/>
              <a:ext cx="654290" cy="654290"/>
            </a:xfrm>
            <a:prstGeom prst="rect">
              <a:avLst/>
            </a:prstGeom>
          </p:spPr>
        </p:pic>
        <p:pic>
          <p:nvPicPr>
            <p:cNvPr id="151" name="Gráfico 150" descr="Caixa">
              <a:extLst>
                <a:ext uri="{FF2B5EF4-FFF2-40B4-BE49-F238E27FC236}">
                  <a16:creationId xmlns:a16="http://schemas.microsoft.com/office/drawing/2014/main" id="{2C3E1330-65E8-491C-A460-C087443899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242901" y="2809303"/>
              <a:ext cx="763014" cy="763014"/>
            </a:xfrm>
            <a:prstGeom prst="rect">
              <a:avLst/>
            </a:prstGeom>
          </p:spPr>
        </p:pic>
        <p:pic>
          <p:nvPicPr>
            <p:cNvPr id="152" name="Gráfico 151" descr="Aperto de mão">
              <a:extLst>
                <a:ext uri="{FF2B5EF4-FFF2-40B4-BE49-F238E27FC236}">
                  <a16:creationId xmlns:a16="http://schemas.microsoft.com/office/drawing/2014/main" id="{30598387-A713-42A6-BB42-367D4E80C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84534" y="2892486"/>
              <a:ext cx="763014" cy="763014"/>
            </a:xfrm>
            <a:prstGeom prst="rect">
              <a:avLst/>
            </a:prstGeom>
          </p:spPr>
        </p:pic>
        <p:pic>
          <p:nvPicPr>
            <p:cNvPr id="153" name="Gráfico 152" descr="Calendário diário">
              <a:extLst>
                <a:ext uri="{FF2B5EF4-FFF2-40B4-BE49-F238E27FC236}">
                  <a16:creationId xmlns:a16="http://schemas.microsoft.com/office/drawing/2014/main" id="{EDA0769F-92B8-4144-9D24-68BD6696AD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665441" y="2799292"/>
              <a:ext cx="763014" cy="763014"/>
            </a:xfrm>
            <a:prstGeom prst="rect">
              <a:avLst/>
            </a:prstGeom>
          </p:spPr>
        </p:pic>
        <p:sp>
          <p:nvSpPr>
            <p:cNvPr id="154" name="CaixaDeTexto 44">
              <a:extLst>
                <a:ext uri="{FF2B5EF4-FFF2-40B4-BE49-F238E27FC236}">
                  <a16:creationId xmlns:a16="http://schemas.microsoft.com/office/drawing/2014/main" id="{5056ED7E-8F52-474A-808B-F62FE1696B94}"/>
                </a:ext>
              </a:extLst>
            </p:cNvPr>
            <p:cNvSpPr txBox="1"/>
            <p:nvPr/>
          </p:nvSpPr>
          <p:spPr>
            <a:xfrm>
              <a:off x="1079598" y="3594233"/>
              <a:ext cx="144239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lvl="0" algn="ctr">
                <a:defRPr sz="1050" b="1">
                  <a:solidFill>
                    <a:prstClr val="black"/>
                  </a:solidFill>
                  <a:latin typeface="Calibri"/>
                </a:defRPr>
              </a:lvl1pPr>
            </a:lstStyle>
            <a:p>
              <a:r>
                <a:rPr lang="pt-BR"/>
                <a:t>Order Touches</a:t>
              </a:r>
              <a:endParaRPr lang="pt-BR" dirty="0"/>
            </a:p>
            <a:p>
              <a:r>
                <a:rPr lang="pt-BR"/>
                <a:t>&amp; Blocks</a:t>
              </a:r>
              <a:endParaRPr lang="pt-BR" dirty="0"/>
            </a:p>
          </p:txBody>
        </p:sp>
        <p:sp>
          <p:nvSpPr>
            <p:cNvPr id="155" name="CaixaDeTexto 45">
              <a:extLst>
                <a:ext uri="{FF2B5EF4-FFF2-40B4-BE49-F238E27FC236}">
                  <a16:creationId xmlns:a16="http://schemas.microsoft.com/office/drawing/2014/main" id="{85C6CC0C-345A-4B8B-BF6F-2DCEFD390628}"/>
                </a:ext>
              </a:extLst>
            </p:cNvPr>
            <p:cNvSpPr txBox="1"/>
            <p:nvPr/>
          </p:nvSpPr>
          <p:spPr>
            <a:xfrm>
              <a:off x="2349722" y="3588879"/>
              <a:ext cx="144239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/>
              <a:r>
                <a:rPr lang="pt-BR" sz="1050" b="1" dirty="0" err="1">
                  <a:solidFill>
                    <a:prstClr val="black"/>
                  </a:solidFill>
                  <a:latin typeface="Calibri"/>
                </a:rPr>
                <a:t>Credit</a:t>
              </a:r>
              <a:r>
                <a:rPr lang="pt-BR" sz="1050" b="1" dirty="0">
                  <a:solidFill>
                    <a:prstClr val="black"/>
                  </a:solidFill>
                  <a:latin typeface="Calibri"/>
                </a:rPr>
                <a:t> / Financial </a:t>
              </a:r>
              <a:r>
                <a:rPr lang="pt-BR" sz="1050" b="1" dirty="0" err="1">
                  <a:solidFill>
                    <a:prstClr val="black"/>
                  </a:solidFill>
                  <a:latin typeface="Calibri"/>
                </a:rPr>
                <a:t>Blocking</a:t>
              </a:r>
              <a:r>
                <a:rPr lang="pt-BR" sz="1050" b="1" dirty="0">
                  <a:solidFill>
                    <a:prstClr val="black"/>
                  </a:solidFill>
                  <a:latin typeface="Calibri"/>
                </a:rPr>
                <a:t> </a:t>
              </a:r>
              <a:endPara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CaixaDeTexto 46">
              <a:extLst>
                <a:ext uri="{FF2B5EF4-FFF2-40B4-BE49-F238E27FC236}">
                  <a16:creationId xmlns:a16="http://schemas.microsoft.com/office/drawing/2014/main" id="{EFD9B6F8-7409-46EC-B47B-6DFD597828AE}"/>
                </a:ext>
              </a:extLst>
            </p:cNvPr>
            <p:cNvSpPr txBox="1"/>
            <p:nvPr/>
          </p:nvSpPr>
          <p:spPr>
            <a:xfrm>
              <a:off x="3769124" y="3614752"/>
              <a:ext cx="144239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pt-BR" sz="1050" b="1" dirty="0" err="1">
                  <a:solidFill>
                    <a:prstClr val="black"/>
                  </a:solidFill>
                  <a:latin typeface="Calibri"/>
                </a:rPr>
                <a:t>Order</a:t>
              </a:r>
              <a:r>
                <a:rPr lang="pt-BR" sz="1050" b="1" dirty="0">
                  <a:solidFill>
                    <a:prstClr val="black"/>
                  </a:solidFill>
                  <a:latin typeface="Calibri"/>
                </a:rPr>
                <a:t> Management </a:t>
              </a:r>
              <a:endPara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CaixaDeTexto 48">
              <a:extLst>
                <a:ext uri="{FF2B5EF4-FFF2-40B4-BE49-F238E27FC236}">
                  <a16:creationId xmlns:a16="http://schemas.microsoft.com/office/drawing/2014/main" id="{0CEBC3DF-7DCD-4457-9E70-BE268CA2AF68}"/>
                </a:ext>
              </a:extLst>
            </p:cNvPr>
            <p:cNvSpPr txBox="1"/>
            <p:nvPr/>
          </p:nvSpPr>
          <p:spPr>
            <a:xfrm>
              <a:off x="5083831" y="3619209"/>
              <a:ext cx="144239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pt-BR" sz="1050" b="1" dirty="0">
                  <a:solidFill>
                    <a:prstClr val="black"/>
                  </a:solidFill>
                  <a:latin typeface="Calibri"/>
                </a:rPr>
                <a:t>Stock </a:t>
              </a:r>
              <a:r>
                <a:rPr lang="pt-BR" sz="1050" b="1" dirty="0" err="1">
                  <a:solidFill>
                    <a:prstClr val="black"/>
                  </a:solidFill>
                  <a:latin typeface="Calibri"/>
                </a:rPr>
                <a:t>Allocation</a:t>
              </a:r>
              <a:r>
                <a:rPr lang="pt-BR" sz="1050" b="1" dirty="0">
                  <a:solidFill>
                    <a:prstClr val="black"/>
                  </a:solidFill>
                  <a:latin typeface="Calibri"/>
                </a:rPr>
                <a:t> </a:t>
              </a:r>
              <a:endPara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CaixaDeTexto 50">
              <a:extLst>
                <a:ext uri="{FF2B5EF4-FFF2-40B4-BE49-F238E27FC236}">
                  <a16:creationId xmlns:a16="http://schemas.microsoft.com/office/drawing/2014/main" id="{E66F73D2-90CD-4C4D-999B-52060E620A53}"/>
                </a:ext>
              </a:extLst>
            </p:cNvPr>
            <p:cNvSpPr txBox="1"/>
            <p:nvPr/>
          </p:nvSpPr>
          <p:spPr>
            <a:xfrm>
              <a:off x="6460408" y="3603159"/>
              <a:ext cx="144239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pointment</a:t>
              </a:r>
              <a:endPara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59" name="Conector reto 7">
              <a:extLst>
                <a:ext uri="{FF2B5EF4-FFF2-40B4-BE49-F238E27FC236}">
                  <a16:creationId xmlns:a16="http://schemas.microsoft.com/office/drawing/2014/main" id="{D7CA3ED4-A512-4DE2-9328-AFAED2199834}"/>
                </a:ext>
              </a:extLst>
            </p:cNvPr>
            <p:cNvCxnSpPr/>
            <p:nvPr/>
          </p:nvCxnSpPr>
          <p:spPr>
            <a:xfrm>
              <a:off x="1034716" y="3284621"/>
              <a:ext cx="456475" cy="0"/>
            </a:xfrm>
            <a:prstGeom prst="line">
              <a:avLst/>
            </a:prstGeom>
            <a:grpFill/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Conector reto 60">
              <a:extLst>
                <a:ext uri="{FF2B5EF4-FFF2-40B4-BE49-F238E27FC236}">
                  <a16:creationId xmlns:a16="http://schemas.microsoft.com/office/drawing/2014/main" id="{79908B75-48BA-4C4A-B073-AC7CE153283A}"/>
                </a:ext>
              </a:extLst>
            </p:cNvPr>
            <p:cNvCxnSpPr/>
            <p:nvPr/>
          </p:nvCxnSpPr>
          <p:spPr>
            <a:xfrm>
              <a:off x="2145481" y="3244516"/>
              <a:ext cx="456475" cy="0"/>
            </a:xfrm>
            <a:prstGeom prst="line">
              <a:avLst/>
            </a:prstGeom>
            <a:grpFill/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Conector reto 62">
              <a:extLst>
                <a:ext uri="{FF2B5EF4-FFF2-40B4-BE49-F238E27FC236}">
                  <a16:creationId xmlns:a16="http://schemas.microsoft.com/office/drawing/2014/main" id="{618E79D1-9077-4E6A-96CF-CF16F35F4B81}"/>
                </a:ext>
              </a:extLst>
            </p:cNvPr>
            <p:cNvCxnSpPr/>
            <p:nvPr/>
          </p:nvCxnSpPr>
          <p:spPr>
            <a:xfrm>
              <a:off x="3525935" y="3236495"/>
              <a:ext cx="456475" cy="0"/>
            </a:xfrm>
            <a:prstGeom prst="line">
              <a:avLst/>
            </a:prstGeom>
            <a:grpFill/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Conector reto 64">
              <a:extLst>
                <a:ext uri="{FF2B5EF4-FFF2-40B4-BE49-F238E27FC236}">
                  <a16:creationId xmlns:a16="http://schemas.microsoft.com/office/drawing/2014/main" id="{A3EF1253-C557-4437-B7BE-DAF7D3BDD4B1}"/>
                </a:ext>
              </a:extLst>
            </p:cNvPr>
            <p:cNvCxnSpPr/>
            <p:nvPr/>
          </p:nvCxnSpPr>
          <p:spPr>
            <a:xfrm>
              <a:off x="4745424" y="3236495"/>
              <a:ext cx="456475" cy="0"/>
            </a:xfrm>
            <a:prstGeom prst="line">
              <a:avLst/>
            </a:prstGeom>
            <a:grpFill/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Conector reto 66">
              <a:extLst>
                <a:ext uri="{FF2B5EF4-FFF2-40B4-BE49-F238E27FC236}">
                  <a16:creationId xmlns:a16="http://schemas.microsoft.com/office/drawing/2014/main" id="{1C1B5F58-0306-4D7E-B0E1-4CE18D75324E}"/>
                </a:ext>
              </a:extLst>
            </p:cNvPr>
            <p:cNvCxnSpPr/>
            <p:nvPr/>
          </p:nvCxnSpPr>
          <p:spPr>
            <a:xfrm>
              <a:off x="6096000" y="3220453"/>
              <a:ext cx="456475" cy="0"/>
            </a:xfrm>
            <a:prstGeom prst="line">
              <a:avLst/>
            </a:prstGeom>
            <a:grpFill/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4" name="Agrupar 9">
            <a:extLst>
              <a:ext uri="{FF2B5EF4-FFF2-40B4-BE49-F238E27FC236}">
                <a16:creationId xmlns:a16="http://schemas.microsoft.com/office/drawing/2014/main" id="{660ABCEF-6D83-4A19-85DB-054E0D289FF4}"/>
              </a:ext>
            </a:extLst>
          </p:cNvPr>
          <p:cNvGrpSpPr/>
          <p:nvPr/>
        </p:nvGrpSpPr>
        <p:grpSpPr>
          <a:xfrm>
            <a:off x="7428455" y="2282433"/>
            <a:ext cx="1613464" cy="1134237"/>
            <a:chOff x="7428455" y="2746676"/>
            <a:chExt cx="1613464" cy="1134237"/>
          </a:xfrm>
          <a:solidFill>
            <a:schemeClr val="tx1"/>
          </a:solidFill>
        </p:grpSpPr>
        <p:pic>
          <p:nvPicPr>
            <p:cNvPr id="165" name="Gráfico 164" descr="Código de Barras">
              <a:extLst>
                <a:ext uri="{FF2B5EF4-FFF2-40B4-BE49-F238E27FC236}">
                  <a16:creationId xmlns:a16="http://schemas.microsoft.com/office/drawing/2014/main" id="{228DDAEF-E543-44D5-B37B-EFDC2017C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975118" y="2746676"/>
              <a:ext cx="763014" cy="763014"/>
            </a:xfrm>
            <a:prstGeom prst="rect">
              <a:avLst/>
            </a:prstGeom>
          </p:spPr>
        </p:pic>
        <p:sp>
          <p:nvSpPr>
            <p:cNvPr id="166" name="CaixaDeTexto 52">
              <a:extLst>
                <a:ext uri="{FF2B5EF4-FFF2-40B4-BE49-F238E27FC236}">
                  <a16:creationId xmlns:a16="http://schemas.microsoft.com/office/drawing/2014/main" id="{60CDA162-DF58-4D72-A8F3-502645E26169}"/>
                </a:ext>
              </a:extLst>
            </p:cNvPr>
            <p:cNvSpPr txBox="1"/>
            <p:nvPr/>
          </p:nvSpPr>
          <p:spPr>
            <a:xfrm>
              <a:off x="7599527" y="3465415"/>
              <a:ext cx="144239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/>
              <a:r>
                <a:rPr lang="pt-BR" sz="1050" b="1" dirty="0" err="1">
                  <a:solidFill>
                    <a:prstClr val="black"/>
                  </a:solidFill>
                  <a:latin typeface="Calibri"/>
                </a:rPr>
                <a:t>Transportation</a:t>
              </a:r>
              <a:r>
                <a:rPr lang="pt-BR" sz="1050" b="1" dirty="0">
                  <a:solidFill>
                    <a:prstClr val="black"/>
                  </a:solidFill>
                  <a:latin typeface="Calibri"/>
                </a:rPr>
                <a:t> Planning </a:t>
              </a:r>
              <a:endPara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67" name="Conector reto 68">
              <a:extLst>
                <a:ext uri="{FF2B5EF4-FFF2-40B4-BE49-F238E27FC236}">
                  <a16:creationId xmlns:a16="http://schemas.microsoft.com/office/drawing/2014/main" id="{886BA02A-2843-4324-92EA-814301CBDB63}"/>
                </a:ext>
              </a:extLst>
            </p:cNvPr>
            <p:cNvCxnSpPr>
              <a:cxnSpLocks/>
            </p:cNvCxnSpPr>
            <p:nvPr/>
          </p:nvCxnSpPr>
          <p:spPr>
            <a:xfrm>
              <a:off x="7428455" y="3176338"/>
              <a:ext cx="456475" cy="0"/>
            </a:xfrm>
            <a:prstGeom prst="line">
              <a:avLst/>
            </a:prstGeom>
            <a:grpFill/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8" name="Agrupar 11">
            <a:extLst>
              <a:ext uri="{FF2B5EF4-FFF2-40B4-BE49-F238E27FC236}">
                <a16:creationId xmlns:a16="http://schemas.microsoft.com/office/drawing/2014/main" id="{2435A22F-D7A1-4AB2-9873-0533DAC69224}"/>
              </a:ext>
            </a:extLst>
          </p:cNvPr>
          <p:cNvGrpSpPr/>
          <p:nvPr/>
        </p:nvGrpSpPr>
        <p:grpSpPr>
          <a:xfrm>
            <a:off x="8772001" y="2317032"/>
            <a:ext cx="1979627" cy="1083494"/>
            <a:chOff x="8772001" y="2781275"/>
            <a:chExt cx="1979627" cy="1083494"/>
          </a:xfrm>
          <a:solidFill>
            <a:schemeClr val="tx1"/>
          </a:solidFill>
        </p:grpSpPr>
        <p:pic>
          <p:nvPicPr>
            <p:cNvPr id="169" name="Gráfico 168" descr="Carrinho">
              <a:extLst>
                <a:ext uri="{FF2B5EF4-FFF2-40B4-BE49-F238E27FC236}">
                  <a16:creationId xmlns:a16="http://schemas.microsoft.com/office/drawing/2014/main" id="{A4552B7A-E220-4D02-AD47-4875140350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150328" y="2781275"/>
              <a:ext cx="763014" cy="763014"/>
            </a:xfrm>
            <a:prstGeom prst="rect">
              <a:avLst/>
            </a:prstGeom>
          </p:spPr>
        </p:pic>
        <p:sp>
          <p:nvSpPr>
            <p:cNvPr id="170" name="CaixaDeTexto 54">
              <a:extLst>
                <a:ext uri="{FF2B5EF4-FFF2-40B4-BE49-F238E27FC236}">
                  <a16:creationId xmlns:a16="http://schemas.microsoft.com/office/drawing/2014/main" id="{D569B30F-5CB1-4CBE-8007-C7FF8B263F1A}"/>
                </a:ext>
              </a:extLst>
            </p:cNvPr>
            <p:cNvSpPr txBox="1"/>
            <p:nvPr/>
          </p:nvSpPr>
          <p:spPr>
            <a:xfrm>
              <a:off x="9309236" y="3603159"/>
              <a:ext cx="144239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pt-BR" sz="1050" b="1" dirty="0" err="1">
                  <a:solidFill>
                    <a:prstClr val="black"/>
                  </a:solidFill>
                  <a:latin typeface="Calibri"/>
                </a:rPr>
                <a:t>Loading</a:t>
              </a:r>
              <a:r>
                <a:rPr lang="pt-BR" sz="1050" b="1" dirty="0">
                  <a:solidFill>
                    <a:prstClr val="black"/>
                  </a:solidFill>
                  <a:latin typeface="Calibri"/>
                </a:rPr>
                <a:t> </a:t>
              </a:r>
              <a:endPara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71" name="Conector reto 70">
              <a:extLst>
                <a:ext uri="{FF2B5EF4-FFF2-40B4-BE49-F238E27FC236}">
                  <a16:creationId xmlns:a16="http://schemas.microsoft.com/office/drawing/2014/main" id="{6DF56469-A152-4B73-937E-3F4AA821AB0D}"/>
                </a:ext>
              </a:extLst>
            </p:cNvPr>
            <p:cNvCxnSpPr/>
            <p:nvPr/>
          </p:nvCxnSpPr>
          <p:spPr>
            <a:xfrm>
              <a:off x="8772001" y="3149223"/>
              <a:ext cx="456475" cy="0"/>
            </a:xfrm>
            <a:prstGeom prst="line">
              <a:avLst/>
            </a:prstGeom>
            <a:grpFill/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2" name="Gráfico 171" descr="Caminhão">
            <a:extLst>
              <a:ext uri="{FF2B5EF4-FFF2-40B4-BE49-F238E27FC236}">
                <a16:creationId xmlns:a16="http://schemas.microsoft.com/office/drawing/2014/main" id="{96540D31-558F-4263-9A66-409FB219D2C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416295" y="2440181"/>
            <a:ext cx="763014" cy="763014"/>
          </a:xfrm>
          <a:prstGeom prst="rect">
            <a:avLst/>
          </a:prstGeom>
        </p:spPr>
      </p:pic>
      <p:pic>
        <p:nvPicPr>
          <p:cNvPr id="173" name="Gráfico 172" descr="Marcador">
            <a:extLst>
              <a:ext uri="{FF2B5EF4-FFF2-40B4-BE49-F238E27FC236}">
                <a16:creationId xmlns:a16="http://schemas.microsoft.com/office/drawing/2014/main" id="{B7ADE37F-F20A-4F8F-948C-A4B92467E94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561661" y="2375703"/>
            <a:ext cx="675977" cy="675977"/>
          </a:xfrm>
          <a:prstGeom prst="rect">
            <a:avLst/>
          </a:prstGeom>
        </p:spPr>
      </p:pic>
      <p:sp>
        <p:nvSpPr>
          <p:cNvPr id="174" name="CaixaDeTexto 56">
            <a:extLst>
              <a:ext uri="{FF2B5EF4-FFF2-40B4-BE49-F238E27FC236}">
                <a16:creationId xmlns:a16="http://schemas.microsoft.com/office/drawing/2014/main" id="{EAC68034-DDDB-4F19-AB40-953A4A44B1EB}"/>
              </a:ext>
            </a:extLst>
          </p:cNvPr>
          <p:cNvSpPr txBox="1"/>
          <p:nvPr/>
        </p:nvSpPr>
        <p:spPr>
          <a:xfrm>
            <a:off x="10374477" y="3150057"/>
            <a:ext cx="14423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050" b="1" dirty="0">
                <a:solidFill>
                  <a:prstClr val="black"/>
                </a:solidFill>
                <a:latin typeface="Calibri"/>
              </a:rPr>
              <a:t>Transit</a:t>
            </a:r>
            <a:endParaRPr kumimoji="0" lang="pt-BR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5" name="CaixaDeTexto 58">
            <a:extLst>
              <a:ext uri="{FF2B5EF4-FFF2-40B4-BE49-F238E27FC236}">
                <a16:creationId xmlns:a16="http://schemas.microsoft.com/office/drawing/2014/main" id="{30BC8062-A169-40E5-BD2B-13994AD0F411}"/>
              </a:ext>
            </a:extLst>
          </p:cNvPr>
          <p:cNvSpPr txBox="1"/>
          <p:nvPr/>
        </p:nvSpPr>
        <p:spPr>
          <a:xfrm>
            <a:off x="11464970" y="3123187"/>
            <a:ext cx="68607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BR" sz="1050" b="1" dirty="0">
                <a:solidFill>
                  <a:prstClr val="black"/>
                </a:solidFill>
                <a:latin typeface="Calibri"/>
              </a:rPr>
              <a:t>Final Delivery </a:t>
            </a:r>
            <a:endParaRPr kumimoji="0" lang="pt-BR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76" name="Conector reto 72">
            <a:extLst>
              <a:ext uri="{FF2B5EF4-FFF2-40B4-BE49-F238E27FC236}">
                <a16:creationId xmlns:a16="http://schemas.microsoft.com/office/drawing/2014/main" id="{46BA4E78-1AB8-4493-A5D8-DC262486BB2D}"/>
              </a:ext>
            </a:extLst>
          </p:cNvPr>
          <p:cNvCxnSpPr/>
          <p:nvPr/>
        </p:nvCxnSpPr>
        <p:spPr>
          <a:xfrm>
            <a:off x="9938004" y="2704594"/>
            <a:ext cx="45647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Conector reto 74">
            <a:extLst>
              <a:ext uri="{FF2B5EF4-FFF2-40B4-BE49-F238E27FC236}">
                <a16:creationId xmlns:a16="http://schemas.microsoft.com/office/drawing/2014/main" id="{0D144B6B-7A4D-4371-B213-1E9283F7448A}"/>
              </a:ext>
            </a:extLst>
          </p:cNvPr>
          <p:cNvCxnSpPr/>
          <p:nvPr/>
        </p:nvCxnSpPr>
        <p:spPr>
          <a:xfrm>
            <a:off x="11140490" y="2725634"/>
            <a:ext cx="456475" cy="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Agrupar 33">
            <a:extLst>
              <a:ext uri="{FF2B5EF4-FFF2-40B4-BE49-F238E27FC236}">
                <a16:creationId xmlns:a16="http://schemas.microsoft.com/office/drawing/2014/main" id="{5105282C-DBE4-42D6-A825-75C37B724A83}"/>
              </a:ext>
            </a:extLst>
          </p:cNvPr>
          <p:cNvGrpSpPr/>
          <p:nvPr/>
        </p:nvGrpSpPr>
        <p:grpSpPr>
          <a:xfrm>
            <a:off x="9221974" y="4099761"/>
            <a:ext cx="2242996" cy="1032337"/>
            <a:chOff x="8985945" y="5253283"/>
            <a:chExt cx="2242996" cy="1032337"/>
          </a:xfrm>
        </p:grpSpPr>
        <p:pic>
          <p:nvPicPr>
            <p:cNvPr id="179" name="Gráfico 178" descr="Sustentabilidade">
              <a:extLst>
                <a:ext uri="{FF2B5EF4-FFF2-40B4-BE49-F238E27FC236}">
                  <a16:creationId xmlns:a16="http://schemas.microsoft.com/office/drawing/2014/main" id="{BA8A0DA1-27C0-4B18-9B03-AE1D028788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8985945" y="5362643"/>
              <a:ext cx="704539" cy="704539"/>
            </a:xfrm>
            <a:prstGeom prst="rect">
              <a:avLst/>
            </a:prstGeom>
          </p:spPr>
        </p:pic>
        <p:sp>
          <p:nvSpPr>
            <p:cNvPr id="180" name="CaixaDeTexto 65">
              <a:extLst>
                <a:ext uri="{FF2B5EF4-FFF2-40B4-BE49-F238E27FC236}">
                  <a16:creationId xmlns:a16="http://schemas.microsoft.com/office/drawing/2014/main" id="{7F493AFB-B50A-47EA-8A35-89F0F00794F2}"/>
                </a:ext>
              </a:extLst>
            </p:cNvPr>
            <p:cNvSpPr txBox="1"/>
            <p:nvPr/>
          </p:nvSpPr>
          <p:spPr>
            <a:xfrm>
              <a:off x="9786549" y="6024010"/>
              <a:ext cx="144239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turns</a:t>
              </a:r>
              <a:endPara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81" name="Gráfico 180" descr="Call center">
              <a:extLst>
                <a:ext uri="{FF2B5EF4-FFF2-40B4-BE49-F238E27FC236}">
                  <a16:creationId xmlns:a16="http://schemas.microsoft.com/office/drawing/2014/main" id="{55AD5EAB-C17C-4021-9FD5-22E8ED829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10264580" y="5253283"/>
              <a:ext cx="757878" cy="757878"/>
            </a:xfrm>
            <a:prstGeom prst="rect">
              <a:avLst/>
            </a:prstGeom>
          </p:spPr>
        </p:pic>
        <p:cxnSp>
          <p:nvCxnSpPr>
            <p:cNvPr id="183" name="Conector reto 75">
              <a:extLst>
                <a:ext uri="{FF2B5EF4-FFF2-40B4-BE49-F238E27FC236}">
                  <a16:creationId xmlns:a16="http://schemas.microsoft.com/office/drawing/2014/main" id="{B8D1B88D-07AE-46FA-9F93-BA962E851259}"/>
                </a:ext>
              </a:extLst>
            </p:cNvPr>
            <p:cNvCxnSpPr>
              <a:cxnSpLocks/>
            </p:cNvCxnSpPr>
            <p:nvPr/>
          </p:nvCxnSpPr>
          <p:spPr>
            <a:xfrm>
              <a:off x="9808105" y="5715639"/>
              <a:ext cx="456475" cy="0"/>
            </a:xfrm>
            <a:prstGeom prst="line">
              <a:avLst/>
            </a:prstGeom>
            <a:ln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4" name="Retângulo 79">
            <a:extLst>
              <a:ext uri="{FF2B5EF4-FFF2-40B4-BE49-F238E27FC236}">
                <a16:creationId xmlns:a16="http://schemas.microsoft.com/office/drawing/2014/main" id="{8DFCEB7E-2413-4FD7-834B-05BEC7544B53}"/>
              </a:ext>
            </a:extLst>
          </p:cNvPr>
          <p:cNvSpPr/>
          <p:nvPr/>
        </p:nvSpPr>
        <p:spPr>
          <a:xfrm>
            <a:off x="9134953" y="163342"/>
            <a:ext cx="2519051" cy="146937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STOMER COLLABORATION</a:t>
            </a:r>
          </a:p>
        </p:txBody>
      </p:sp>
      <p:pic>
        <p:nvPicPr>
          <p:cNvPr id="185" name="Gráfico 184" descr="Gráfico de barras com tendência ascendente">
            <a:extLst>
              <a:ext uri="{FF2B5EF4-FFF2-40B4-BE49-F238E27FC236}">
                <a16:creationId xmlns:a16="http://schemas.microsoft.com/office/drawing/2014/main" id="{39CDCD84-074A-47EE-817B-B3085423BB89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322102" y="564352"/>
            <a:ext cx="722032" cy="722032"/>
          </a:xfrm>
          <a:prstGeom prst="rect">
            <a:avLst/>
          </a:prstGeom>
        </p:spPr>
      </p:pic>
      <p:pic>
        <p:nvPicPr>
          <p:cNvPr id="186" name="Gráfico 185" descr="Aperto de mão">
            <a:extLst>
              <a:ext uri="{FF2B5EF4-FFF2-40B4-BE49-F238E27FC236}">
                <a16:creationId xmlns:a16="http://schemas.microsoft.com/office/drawing/2014/main" id="{C74FDA5C-A5A5-4CC0-8E5A-3437F14120E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601277" y="510131"/>
            <a:ext cx="914400" cy="914400"/>
          </a:xfrm>
          <a:prstGeom prst="rect">
            <a:avLst/>
          </a:prstGeom>
        </p:spPr>
      </p:pic>
      <p:sp>
        <p:nvSpPr>
          <p:cNvPr id="187" name="CaixaDeTexto 92">
            <a:extLst>
              <a:ext uri="{FF2B5EF4-FFF2-40B4-BE49-F238E27FC236}">
                <a16:creationId xmlns:a16="http://schemas.microsoft.com/office/drawing/2014/main" id="{3A770922-4F7F-4292-8A9D-4FAB2B3D982D}"/>
              </a:ext>
            </a:extLst>
          </p:cNvPr>
          <p:cNvSpPr txBox="1"/>
          <p:nvPr/>
        </p:nvSpPr>
        <p:spPr>
          <a:xfrm>
            <a:off x="9228476" y="1305802"/>
            <a:ext cx="14423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</a:t>
            </a:r>
            <a:r>
              <a:rPr kumimoji="0" lang="pt-BR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l</a:t>
            </a:r>
            <a:endParaRPr kumimoji="0" lang="pt-BR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8" name="CaixaDeTexto 93">
            <a:extLst>
              <a:ext uri="{FF2B5EF4-FFF2-40B4-BE49-F238E27FC236}">
                <a16:creationId xmlns:a16="http://schemas.microsoft.com/office/drawing/2014/main" id="{9E13032C-6E0B-4100-9085-3823E1CE276D}"/>
              </a:ext>
            </a:extLst>
          </p:cNvPr>
          <p:cNvSpPr txBox="1"/>
          <p:nvPr/>
        </p:nvSpPr>
        <p:spPr>
          <a:xfrm>
            <a:off x="10489103" y="1233480"/>
            <a:ext cx="109616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BR" sz="1050" b="1" dirty="0" err="1">
                <a:solidFill>
                  <a:prstClr val="black"/>
                </a:solidFill>
                <a:latin typeface="Calibri"/>
              </a:rPr>
              <a:t>Customer</a:t>
            </a:r>
            <a:r>
              <a:rPr lang="pt-BR" sz="105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pt-BR" sz="1050" b="1" dirty="0" err="1">
                <a:solidFill>
                  <a:prstClr val="black"/>
                </a:solidFill>
                <a:latin typeface="Calibri"/>
              </a:rPr>
              <a:t>Relationship</a:t>
            </a:r>
            <a:endParaRPr kumimoji="0" lang="pt-BR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89" name="Conector reto 94">
            <a:extLst>
              <a:ext uri="{FF2B5EF4-FFF2-40B4-BE49-F238E27FC236}">
                <a16:creationId xmlns:a16="http://schemas.microsoft.com/office/drawing/2014/main" id="{EAED11CE-5D92-47B4-9F44-553D3CDF9B89}"/>
              </a:ext>
            </a:extLst>
          </p:cNvPr>
          <p:cNvCxnSpPr/>
          <p:nvPr/>
        </p:nvCxnSpPr>
        <p:spPr>
          <a:xfrm>
            <a:off x="10100462" y="957644"/>
            <a:ext cx="456475" cy="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Conector: Curvo 35">
            <a:extLst>
              <a:ext uri="{FF2B5EF4-FFF2-40B4-BE49-F238E27FC236}">
                <a16:creationId xmlns:a16="http://schemas.microsoft.com/office/drawing/2014/main" id="{A6D18665-D451-4411-B6E5-DC117512628F}"/>
              </a:ext>
            </a:extLst>
          </p:cNvPr>
          <p:cNvCxnSpPr>
            <a:cxnSpLocks/>
            <a:endCxn id="186" idx="3"/>
          </p:cNvCxnSpPr>
          <p:nvPr/>
        </p:nvCxnSpPr>
        <p:spPr>
          <a:xfrm rot="16200000" flipV="1">
            <a:off x="11125786" y="1357222"/>
            <a:ext cx="1179154" cy="399371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Conector: Curvo 91">
            <a:extLst>
              <a:ext uri="{FF2B5EF4-FFF2-40B4-BE49-F238E27FC236}">
                <a16:creationId xmlns:a16="http://schemas.microsoft.com/office/drawing/2014/main" id="{BA318949-D7DA-4F1B-8AA1-207D0D9263A3}"/>
              </a:ext>
            </a:extLst>
          </p:cNvPr>
          <p:cNvCxnSpPr>
            <a:cxnSpLocks/>
            <a:endCxn id="181" idx="3"/>
          </p:cNvCxnSpPr>
          <p:nvPr/>
        </p:nvCxnSpPr>
        <p:spPr>
          <a:xfrm rot="5400000">
            <a:off x="11166338" y="3652765"/>
            <a:ext cx="918085" cy="733785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8" name="Gráfico 207" descr="Gráfico de pizza">
            <a:extLst>
              <a:ext uri="{FF2B5EF4-FFF2-40B4-BE49-F238E27FC236}">
                <a16:creationId xmlns:a16="http://schemas.microsoft.com/office/drawing/2014/main" id="{290CFF36-473D-4689-933A-BED71132CA01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037987" y="4090954"/>
            <a:ext cx="914400" cy="914400"/>
          </a:xfrm>
          <a:prstGeom prst="rect">
            <a:avLst/>
          </a:prstGeom>
        </p:spPr>
      </p:pic>
      <p:sp>
        <p:nvSpPr>
          <p:cNvPr id="209" name="CaixaDeTexto 126">
            <a:extLst>
              <a:ext uri="{FF2B5EF4-FFF2-40B4-BE49-F238E27FC236}">
                <a16:creationId xmlns:a16="http://schemas.microsoft.com/office/drawing/2014/main" id="{F3715F0A-9009-40EA-BB4B-530D213C6A07}"/>
              </a:ext>
            </a:extLst>
          </p:cNvPr>
          <p:cNvSpPr txBox="1"/>
          <p:nvPr/>
        </p:nvSpPr>
        <p:spPr>
          <a:xfrm>
            <a:off x="3944226" y="4328688"/>
            <a:ext cx="1764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2C2D8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icadores</a:t>
            </a:r>
          </a:p>
        </p:txBody>
      </p:sp>
      <p:sp>
        <p:nvSpPr>
          <p:cNvPr id="210" name="CaixaDeTexto 127">
            <a:extLst>
              <a:ext uri="{FF2B5EF4-FFF2-40B4-BE49-F238E27FC236}">
                <a16:creationId xmlns:a16="http://schemas.microsoft.com/office/drawing/2014/main" id="{292BCC07-E052-4FD6-91E3-9E8EBB383E5B}"/>
              </a:ext>
            </a:extLst>
          </p:cNvPr>
          <p:cNvSpPr txBox="1"/>
          <p:nvPr/>
        </p:nvSpPr>
        <p:spPr>
          <a:xfrm>
            <a:off x="3222605" y="5012343"/>
            <a:ext cx="24668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2C2D8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IF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2C2D8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C2D8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ll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2C2D8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Rat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2C2D8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clo Intern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2C2D8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volução / Ineficiência</a:t>
            </a:r>
          </a:p>
        </p:txBody>
      </p:sp>
    </p:spTree>
    <p:extLst>
      <p:ext uri="{BB962C8B-B14F-4D97-AF65-F5344CB8AC3E}">
        <p14:creationId xmlns:p14="http://schemas.microsoft.com/office/powerpoint/2010/main" val="327079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722" y="96398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3600" dirty="0" err="1"/>
              <a:t>Modelo</a:t>
            </a:r>
            <a:r>
              <a:rPr lang="en-US" sz="3600" dirty="0"/>
              <a:t> </a:t>
            </a:r>
            <a:r>
              <a:rPr lang="es-AR" sz="3600" dirty="0" err="1"/>
              <a:t>Order</a:t>
            </a:r>
            <a:r>
              <a:rPr lang="es-AR" sz="3600" dirty="0"/>
              <a:t> Management</a:t>
            </a:r>
            <a:br>
              <a:rPr lang="en-US" sz="3600" dirty="0"/>
            </a:br>
            <a:r>
              <a:rPr lang="en-US" sz="3100" dirty="0"/>
              <a:t>Macro-</a:t>
            </a:r>
            <a:r>
              <a:rPr lang="en-US" sz="3100" dirty="0" err="1"/>
              <a:t>Procesos</a:t>
            </a:r>
            <a:r>
              <a:rPr lang="en-US" sz="3100" dirty="0"/>
              <a:t> para</a:t>
            </a:r>
            <a:br>
              <a:rPr lang="en-US" sz="4000" dirty="0"/>
            </a:br>
            <a:br>
              <a:rPr lang="en-US" sz="2200" dirty="0"/>
            </a:br>
            <a:r>
              <a:rPr lang="en-US" sz="2200" dirty="0"/>
              <a:t> </a:t>
            </a:r>
          </a:p>
        </p:txBody>
      </p:sp>
      <p:sp>
        <p:nvSpPr>
          <p:cNvPr id="104" name="Retângulo 45">
            <a:extLst>
              <a:ext uri="{FF2B5EF4-FFF2-40B4-BE49-F238E27FC236}">
                <a16:creationId xmlns:a16="http://schemas.microsoft.com/office/drawing/2014/main" id="{2A22F5C8-64B6-464E-8301-F3F875109054}"/>
              </a:ext>
            </a:extLst>
          </p:cNvPr>
          <p:cNvSpPr/>
          <p:nvPr/>
        </p:nvSpPr>
        <p:spPr>
          <a:xfrm>
            <a:off x="10264580" y="2233552"/>
            <a:ext cx="1864649" cy="2552618"/>
          </a:xfrm>
          <a:prstGeom prst="rect">
            <a:avLst/>
          </a:prstGeom>
          <a:noFill/>
          <a:ln w="12700" cap="flat" cmpd="sng" algn="ctr">
            <a:solidFill>
              <a:srgbClr val="10069F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</a:rPr>
              <a:t>CARRIER</a:t>
            </a:r>
          </a:p>
        </p:txBody>
      </p:sp>
      <p:sp>
        <p:nvSpPr>
          <p:cNvPr id="105" name="Retângulo 46">
            <a:extLst>
              <a:ext uri="{FF2B5EF4-FFF2-40B4-BE49-F238E27FC236}">
                <a16:creationId xmlns:a16="http://schemas.microsoft.com/office/drawing/2014/main" id="{6AEDFB69-7529-4EB3-B32C-B2682B6A8A44}"/>
              </a:ext>
            </a:extLst>
          </p:cNvPr>
          <p:cNvSpPr/>
          <p:nvPr/>
        </p:nvSpPr>
        <p:spPr>
          <a:xfrm>
            <a:off x="9074635" y="2234661"/>
            <a:ext cx="1142879" cy="2552618"/>
          </a:xfrm>
          <a:prstGeom prst="rect">
            <a:avLst/>
          </a:prstGeom>
          <a:noFill/>
          <a:ln w="12700" cap="flat" cmpd="sng" algn="ctr">
            <a:solidFill>
              <a:srgbClr val="10069F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</a:rPr>
              <a:t>DC’s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</a:endParaRPr>
          </a:p>
        </p:txBody>
      </p:sp>
      <p:sp>
        <p:nvSpPr>
          <p:cNvPr id="106" name="Retângulo 47">
            <a:extLst>
              <a:ext uri="{FF2B5EF4-FFF2-40B4-BE49-F238E27FC236}">
                <a16:creationId xmlns:a16="http://schemas.microsoft.com/office/drawing/2014/main" id="{872497A2-4FF8-4057-A19A-BA97FC07C66C}"/>
              </a:ext>
            </a:extLst>
          </p:cNvPr>
          <p:cNvSpPr/>
          <p:nvPr/>
        </p:nvSpPr>
        <p:spPr>
          <a:xfrm>
            <a:off x="7546685" y="2222305"/>
            <a:ext cx="1476890" cy="2552618"/>
          </a:xfrm>
          <a:prstGeom prst="rect">
            <a:avLst/>
          </a:prstGeom>
          <a:noFill/>
          <a:ln w="12700" cap="flat" cmpd="sng" algn="ctr">
            <a:solidFill>
              <a:srgbClr val="10069F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</a:rPr>
              <a:t>TMS</a:t>
            </a:r>
          </a:p>
        </p:txBody>
      </p:sp>
      <p:sp>
        <p:nvSpPr>
          <p:cNvPr id="107" name="Retângulo 48">
            <a:extLst>
              <a:ext uri="{FF2B5EF4-FFF2-40B4-BE49-F238E27FC236}">
                <a16:creationId xmlns:a16="http://schemas.microsoft.com/office/drawing/2014/main" id="{0AD3B502-B765-4D75-BEBB-B97C990721FF}"/>
              </a:ext>
            </a:extLst>
          </p:cNvPr>
          <p:cNvSpPr/>
          <p:nvPr/>
        </p:nvSpPr>
        <p:spPr>
          <a:xfrm>
            <a:off x="34852" y="2223903"/>
            <a:ext cx="7438639" cy="2552618"/>
          </a:xfrm>
          <a:prstGeom prst="rect">
            <a:avLst/>
          </a:prstGeom>
          <a:noFill/>
          <a:ln w="12700" cap="flat" cmpd="sng" algn="ctr">
            <a:solidFill>
              <a:srgbClr val="10069F">
                <a:shade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highlight>
                <a:srgbClr val="FFFF00"/>
              </a:highlight>
              <a:uLnTx/>
              <a:uFillTx/>
            </a:endParaRPr>
          </a:p>
        </p:txBody>
      </p:sp>
      <p:grpSp>
        <p:nvGrpSpPr>
          <p:cNvPr id="108" name="Agrupar 49">
            <a:extLst>
              <a:ext uri="{FF2B5EF4-FFF2-40B4-BE49-F238E27FC236}">
                <a16:creationId xmlns:a16="http://schemas.microsoft.com/office/drawing/2014/main" id="{3D2A4DEF-2981-4DB8-926E-5F081836CC91}"/>
              </a:ext>
            </a:extLst>
          </p:cNvPr>
          <p:cNvGrpSpPr/>
          <p:nvPr/>
        </p:nvGrpSpPr>
        <p:grpSpPr>
          <a:xfrm>
            <a:off x="86835" y="2798627"/>
            <a:ext cx="7512262" cy="1246488"/>
            <a:chOff x="86835" y="2783762"/>
            <a:chExt cx="7512262" cy="1246488"/>
          </a:xfrm>
        </p:grpSpPr>
        <p:sp>
          <p:nvSpPr>
            <p:cNvPr id="109" name="CaixaDeTexto 50">
              <a:extLst>
                <a:ext uri="{FF2B5EF4-FFF2-40B4-BE49-F238E27FC236}">
                  <a16:creationId xmlns:a16="http://schemas.microsoft.com/office/drawing/2014/main" id="{CD9C0A7C-D035-40B6-B909-F70A65186905}"/>
                </a:ext>
              </a:extLst>
            </p:cNvPr>
            <p:cNvSpPr txBox="1"/>
            <p:nvPr/>
          </p:nvSpPr>
          <p:spPr>
            <a:xfrm>
              <a:off x="86835" y="3573646"/>
              <a:ext cx="119339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rPr>
                <a:t>Entrada de pedidos</a:t>
              </a:r>
            </a:p>
          </p:txBody>
        </p:sp>
        <p:pic>
          <p:nvPicPr>
            <p:cNvPr id="110" name="Gráfico 109" descr="Documento">
              <a:extLst>
                <a:ext uri="{FF2B5EF4-FFF2-40B4-BE49-F238E27FC236}">
                  <a16:creationId xmlns:a16="http://schemas.microsoft.com/office/drawing/2014/main" id="{C5826F27-CDA7-4B92-BBE1-959E6EC1E00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82410" y="2826366"/>
              <a:ext cx="715948" cy="715948"/>
            </a:xfrm>
            <a:prstGeom prst="rect">
              <a:avLst/>
            </a:prstGeom>
          </p:spPr>
        </p:pic>
        <p:pic>
          <p:nvPicPr>
            <p:cNvPr id="111" name="Gráfico 110" descr="Dinheiro">
              <a:extLst>
                <a:ext uri="{FF2B5EF4-FFF2-40B4-BE49-F238E27FC236}">
                  <a16:creationId xmlns:a16="http://schemas.microsoft.com/office/drawing/2014/main" id="{B5E503A4-DD7E-49AA-85DB-A621C718B2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664031" y="2783762"/>
              <a:ext cx="763014" cy="763014"/>
            </a:xfrm>
            <a:prstGeom prst="rect">
              <a:avLst/>
            </a:prstGeom>
          </p:spPr>
        </p:pic>
        <p:pic>
          <p:nvPicPr>
            <p:cNvPr id="112" name="Gráfico 111" descr="Bloqueio">
              <a:extLst>
                <a:ext uri="{FF2B5EF4-FFF2-40B4-BE49-F238E27FC236}">
                  <a16:creationId xmlns:a16="http://schemas.microsoft.com/office/drawing/2014/main" id="{F7203B74-73D3-4F5E-B207-E2B68302FE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491191" y="2892486"/>
              <a:ext cx="654290" cy="654290"/>
            </a:xfrm>
            <a:prstGeom prst="rect">
              <a:avLst/>
            </a:prstGeom>
          </p:spPr>
        </p:pic>
        <p:pic>
          <p:nvPicPr>
            <p:cNvPr id="113" name="Gráfico 112" descr="Caixa">
              <a:extLst>
                <a:ext uri="{FF2B5EF4-FFF2-40B4-BE49-F238E27FC236}">
                  <a16:creationId xmlns:a16="http://schemas.microsoft.com/office/drawing/2014/main" id="{1F3D5C3D-23D7-403B-A51E-EDD2169FA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242901" y="2809303"/>
              <a:ext cx="763014" cy="763014"/>
            </a:xfrm>
            <a:prstGeom prst="rect">
              <a:avLst/>
            </a:prstGeom>
          </p:spPr>
        </p:pic>
        <p:pic>
          <p:nvPicPr>
            <p:cNvPr id="114" name="Gráfico 113" descr="Aperto de mão">
              <a:extLst>
                <a:ext uri="{FF2B5EF4-FFF2-40B4-BE49-F238E27FC236}">
                  <a16:creationId xmlns:a16="http://schemas.microsoft.com/office/drawing/2014/main" id="{5DE6FEBB-1911-43CE-B64A-E254054DB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84534" y="2892486"/>
              <a:ext cx="763014" cy="763014"/>
            </a:xfrm>
            <a:prstGeom prst="rect">
              <a:avLst/>
            </a:prstGeom>
          </p:spPr>
        </p:pic>
        <p:pic>
          <p:nvPicPr>
            <p:cNvPr id="115" name="Gráfico 114" descr="Calendário diário">
              <a:extLst>
                <a:ext uri="{FF2B5EF4-FFF2-40B4-BE49-F238E27FC236}">
                  <a16:creationId xmlns:a16="http://schemas.microsoft.com/office/drawing/2014/main" id="{529A11F2-3373-4050-B461-B81223E1B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665441" y="2799292"/>
              <a:ext cx="763014" cy="763014"/>
            </a:xfrm>
            <a:prstGeom prst="rect">
              <a:avLst/>
            </a:prstGeom>
          </p:spPr>
        </p:pic>
        <p:sp>
          <p:nvSpPr>
            <p:cNvPr id="116" name="CaixaDeTexto 57">
              <a:extLst>
                <a:ext uri="{FF2B5EF4-FFF2-40B4-BE49-F238E27FC236}">
                  <a16:creationId xmlns:a16="http://schemas.microsoft.com/office/drawing/2014/main" id="{BD7349FC-B2E6-4815-914A-1DDF2A2D5E13}"/>
                </a:ext>
              </a:extLst>
            </p:cNvPr>
            <p:cNvSpPr txBox="1"/>
            <p:nvPr/>
          </p:nvSpPr>
          <p:spPr>
            <a:xfrm>
              <a:off x="1375439" y="3594233"/>
              <a:ext cx="144239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rPr>
                <a:t>Recusas e Bloqueios</a:t>
              </a:r>
            </a:p>
          </p:txBody>
        </p:sp>
        <p:sp>
          <p:nvSpPr>
            <p:cNvPr id="117" name="CaixaDeTexto 58">
              <a:extLst>
                <a:ext uri="{FF2B5EF4-FFF2-40B4-BE49-F238E27FC236}">
                  <a16:creationId xmlns:a16="http://schemas.microsoft.com/office/drawing/2014/main" id="{747B8750-75B7-4B01-8C54-87F215672976}"/>
                </a:ext>
              </a:extLst>
            </p:cNvPr>
            <p:cNvSpPr txBox="1"/>
            <p:nvPr/>
          </p:nvSpPr>
          <p:spPr>
            <a:xfrm>
              <a:off x="2639567" y="3588879"/>
              <a:ext cx="144239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rPr>
                <a:t>Crédito</a:t>
              </a:r>
            </a:p>
          </p:txBody>
        </p:sp>
        <p:sp>
          <p:nvSpPr>
            <p:cNvPr id="118" name="CaixaDeTexto 59">
              <a:extLst>
                <a:ext uri="{FF2B5EF4-FFF2-40B4-BE49-F238E27FC236}">
                  <a16:creationId xmlns:a16="http://schemas.microsoft.com/office/drawing/2014/main" id="{E90A4BFA-1620-419D-A432-F3881FA04C98}"/>
                </a:ext>
              </a:extLst>
            </p:cNvPr>
            <p:cNvSpPr txBox="1"/>
            <p:nvPr/>
          </p:nvSpPr>
          <p:spPr>
            <a:xfrm>
              <a:off x="3878090" y="3614752"/>
              <a:ext cx="117047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rPr>
                <a:t>Gestão de Carteira</a:t>
              </a:r>
            </a:p>
          </p:txBody>
        </p:sp>
        <p:sp>
          <p:nvSpPr>
            <p:cNvPr id="119" name="CaixaDeTexto 60">
              <a:extLst>
                <a:ext uri="{FF2B5EF4-FFF2-40B4-BE49-F238E27FC236}">
                  <a16:creationId xmlns:a16="http://schemas.microsoft.com/office/drawing/2014/main" id="{31BB2190-38A9-4447-874C-9C1F2E6A81E0}"/>
                </a:ext>
              </a:extLst>
            </p:cNvPr>
            <p:cNvSpPr txBox="1"/>
            <p:nvPr/>
          </p:nvSpPr>
          <p:spPr>
            <a:xfrm>
              <a:off x="5221008" y="3611891"/>
              <a:ext cx="144239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rPr>
                <a:t>Alocação de estoque</a:t>
              </a:r>
            </a:p>
          </p:txBody>
        </p:sp>
        <p:sp>
          <p:nvSpPr>
            <p:cNvPr id="120" name="CaixaDeTexto 61">
              <a:extLst>
                <a:ext uri="{FF2B5EF4-FFF2-40B4-BE49-F238E27FC236}">
                  <a16:creationId xmlns:a16="http://schemas.microsoft.com/office/drawing/2014/main" id="{8053D0C4-AFE8-48FA-B6F5-91D77B002DDC}"/>
                </a:ext>
              </a:extLst>
            </p:cNvPr>
            <p:cNvSpPr txBox="1"/>
            <p:nvPr/>
          </p:nvSpPr>
          <p:spPr>
            <a:xfrm>
              <a:off x="6460408" y="3603159"/>
              <a:ext cx="113868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rPr>
                <a:t>Agendamento das entregas</a:t>
              </a:r>
            </a:p>
          </p:txBody>
        </p:sp>
        <p:cxnSp>
          <p:nvCxnSpPr>
            <p:cNvPr id="121" name="Conector reto 62">
              <a:extLst>
                <a:ext uri="{FF2B5EF4-FFF2-40B4-BE49-F238E27FC236}">
                  <a16:creationId xmlns:a16="http://schemas.microsoft.com/office/drawing/2014/main" id="{6DE248F1-0326-4FA0-9E90-E1A36941B204}"/>
                </a:ext>
              </a:extLst>
            </p:cNvPr>
            <p:cNvCxnSpPr/>
            <p:nvPr/>
          </p:nvCxnSpPr>
          <p:spPr>
            <a:xfrm>
              <a:off x="1034716" y="3284621"/>
              <a:ext cx="456475" cy="0"/>
            </a:xfrm>
            <a:prstGeom prst="line">
              <a:avLst/>
            </a:prstGeom>
            <a:noFill/>
            <a:ln w="9525" cap="flat" cmpd="sng" algn="ctr">
              <a:solidFill>
                <a:srgbClr val="10069F">
                  <a:satMod val="12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22" name="Conector reto 63">
              <a:extLst>
                <a:ext uri="{FF2B5EF4-FFF2-40B4-BE49-F238E27FC236}">
                  <a16:creationId xmlns:a16="http://schemas.microsoft.com/office/drawing/2014/main" id="{FF32188F-6C43-470A-8514-B19C883344D4}"/>
                </a:ext>
              </a:extLst>
            </p:cNvPr>
            <p:cNvCxnSpPr/>
            <p:nvPr/>
          </p:nvCxnSpPr>
          <p:spPr>
            <a:xfrm>
              <a:off x="2145481" y="3244516"/>
              <a:ext cx="456475" cy="0"/>
            </a:xfrm>
            <a:prstGeom prst="line">
              <a:avLst/>
            </a:prstGeom>
            <a:noFill/>
            <a:ln w="9525" cap="flat" cmpd="sng" algn="ctr">
              <a:solidFill>
                <a:srgbClr val="10069F">
                  <a:satMod val="12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23" name="Conector reto 64">
              <a:extLst>
                <a:ext uri="{FF2B5EF4-FFF2-40B4-BE49-F238E27FC236}">
                  <a16:creationId xmlns:a16="http://schemas.microsoft.com/office/drawing/2014/main" id="{EBDE31ED-2EB0-42DC-A11C-79F1EF70FACC}"/>
                </a:ext>
              </a:extLst>
            </p:cNvPr>
            <p:cNvCxnSpPr/>
            <p:nvPr/>
          </p:nvCxnSpPr>
          <p:spPr>
            <a:xfrm>
              <a:off x="3525935" y="3236495"/>
              <a:ext cx="456475" cy="0"/>
            </a:xfrm>
            <a:prstGeom prst="line">
              <a:avLst/>
            </a:prstGeom>
            <a:noFill/>
            <a:ln w="9525" cap="flat" cmpd="sng" algn="ctr">
              <a:solidFill>
                <a:srgbClr val="10069F">
                  <a:satMod val="12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24" name="Conector reto 65">
              <a:extLst>
                <a:ext uri="{FF2B5EF4-FFF2-40B4-BE49-F238E27FC236}">
                  <a16:creationId xmlns:a16="http://schemas.microsoft.com/office/drawing/2014/main" id="{765B0C5A-168F-4238-972C-F44C268DC1BE}"/>
                </a:ext>
              </a:extLst>
            </p:cNvPr>
            <p:cNvCxnSpPr/>
            <p:nvPr/>
          </p:nvCxnSpPr>
          <p:spPr>
            <a:xfrm>
              <a:off x="4745424" y="3236495"/>
              <a:ext cx="456475" cy="0"/>
            </a:xfrm>
            <a:prstGeom prst="line">
              <a:avLst/>
            </a:prstGeom>
            <a:noFill/>
            <a:ln w="9525" cap="flat" cmpd="sng" algn="ctr">
              <a:solidFill>
                <a:srgbClr val="10069F">
                  <a:satMod val="12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25" name="Conector reto 66">
              <a:extLst>
                <a:ext uri="{FF2B5EF4-FFF2-40B4-BE49-F238E27FC236}">
                  <a16:creationId xmlns:a16="http://schemas.microsoft.com/office/drawing/2014/main" id="{F0F90191-AD45-4663-B70F-021B91798C20}"/>
                </a:ext>
              </a:extLst>
            </p:cNvPr>
            <p:cNvCxnSpPr/>
            <p:nvPr/>
          </p:nvCxnSpPr>
          <p:spPr>
            <a:xfrm>
              <a:off x="6096000" y="3220453"/>
              <a:ext cx="456475" cy="0"/>
            </a:xfrm>
            <a:prstGeom prst="line">
              <a:avLst/>
            </a:prstGeom>
            <a:noFill/>
            <a:ln w="9525" cap="flat" cmpd="sng" algn="ctr">
              <a:solidFill>
                <a:srgbClr val="10069F">
                  <a:satMod val="120000"/>
                </a:srgbClr>
              </a:solidFill>
              <a:prstDash val="solid"/>
              <a:tailEnd type="triangle"/>
            </a:ln>
            <a:effectLst/>
          </p:spPr>
        </p:cxnSp>
      </p:grpSp>
      <p:grpSp>
        <p:nvGrpSpPr>
          <p:cNvPr id="126" name="Agrupar 67">
            <a:extLst>
              <a:ext uri="{FF2B5EF4-FFF2-40B4-BE49-F238E27FC236}">
                <a16:creationId xmlns:a16="http://schemas.microsoft.com/office/drawing/2014/main" id="{FD82146F-61A3-4276-B1BC-85EAF396E274}"/>
              </a:ext>
            </a:extLst>
          </p:cNvPr>
          <p:cNvGrpSpPr/>
          <p:nvPr/>
        </p:nvGrpSpPr>
        <p:grpSpPr>
          <a:xfrm>
            <a:off x="7444290" y="2825896"/>
            <a:ext cx="1873713" cy="1230923"/>
            <a:chOff x="7428455" y="2811031"/>
            <a:chExt cx="1873713" cy="1230923"/>
          </a:xfrm>
        </p:grpSpPr>
        <p:pic>
          <p:nvPicPr>
            <p:cNvPr id="127" name="Gráfico 126" descr="Código de Barras">
              <a:extLst>
                <a:ext uri="{FF2B5EF4-FFF2-40B4-BE49-F238E27FC236}">
                  <a16:creationId xmlns:a16="http://schemas.microsoft.com/office/drawing/2014/main" id="{DEED9522-8466-4EA7-B86E-364F5C3C20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942092" y="2811031"/>
              <a:ext cx="763014" cy="763014"/>
            </a:xfrm>
            <a:prstGeom prst="rect">
              <a:avLst/>
            </a:prstGeom>
          </p:spPr>
        </p:pic>
        <p:sp>
          <p:nvSpPr>
            <p:cNvPr id="128" name="CaixaDeTexto 69">
              <a:extLst>
                <a:ext uri="{FF2B5EF4-FFF2-40B4-BE49-F238E27FC236}">
                  <a16:creationId xmlns:a16="http://schemas.microsoft.com/office/drawing/2014/main" id="{7214C7BF-D860-4238-8CB8-88164CBB7C8A}"/>
                </a:ext>
              </a:extLst>
            </p:cNvPr>
            <p:cNvSpPr txBox="1"/>
            <p:nvPr/>
          </p:nvSpPr>
          <p:spPr>
            <a:xfrm>
              <a:off x="7859776" y="3626456"/>
              <a:ext cx="144239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rPr>
                <a:t>Criação de Transporte</a:t>
              </a:r>
            </a:p>
          </p:txBody>
        </p:sp>
        <p:cxnSp>
          <p:nvCxnSpPr>
            <p:cNvPr id="129" name="Conector reto 70">
              <a:extLst>
                <a:ext uri="{FF2B5EF4-FFF2-40B4-BE49-F238E27FC236}">
                  <a16:creationId xmlns:a16="http://schemas.microsoft.com/office/drawing/2014/main" id="{BB55207C-2378-4936-BA7C-4C1D4AC144AF}"/>
                </a:ext>
              </a:extLst>
            </p:cNvPr>
            <p:cNvCxnSpPr>
              <a:cxnSpLocks/>
            </p:cNvCxnSpPr>
            <p:nvPr/>
          </p:nvCxnSpPr>
          <p:spPr>
            <a:xfrm>
              <a:off x="7428455" y="3176338"/>
              <a:ext cx="456475" cy="0"/>
            </a:xfrm>
            <a:prstGeom prst="line">
              <a:avLst/>
            </a:prstGeom>
            <a:noFill/>
            <a:ln w="9525" cap="flat" cmpd="sng" algn="ctr">
              <a:solidFill>
                <a:srgbClr val="10069F">
                  <a:satMod val="120000"/>
                </a:srgbClr>
              </a:solidFill>
              <a:prstDash val="solid"/>
              <a:tailEnd type="triangle"/>
            </a:ln>
            <a:effectLst/>
          </p:spPr>
        </p:cxnSp>
      </p:grpSp>
      <p:grpSp>
        <p:nvGrpSpPr>
          <p:cNvPr id="130" name="Agrupar 71">
            <a:extLst>
              <a:ext uri="{FF2B5EF4-FFF2-40B4-BE49-F238E27FC236}">
                <a16:creationId xmlns:a16="http://schemas.microsoft.com/office/drawing/2014/main" id="{BAE1308F-9EA8-4D3F-8AC2-67E53AFCFAB8}"/>
              </a:ext>
            </a:extLst>
          </p:cNvPr>
          <p:cNvGrpSpPr/>
          <p:nvPr/>
        </p:nvGrpSpPr>
        <p:grpSpPr>
          <a:xfrm>
            <a:off x="8772001" y="2796140"/>
            <a:ext cx="1887199" cy="1239877"/>
            <a:chOff x="8772001" y="2781275"/>
            <a:chExt cx="1887199" cy="1239877"/>
          </a:xfrm>
        </p:grpSpPr>
        <p:pic>
          <p:nvPicPr>
            <p:cNvPr id="131" name="Gráfico 130" descr="Carrinho">
              <a:extLst>
                <a:ext uri="{FF2B5EF4-FFF2-40B4-BE49-F238E27FC236}">
                  <a16:creationId xmlns:a16="http://schemas.microsoft.com/office/drawing/2014/main" id="{4D34FAE9-2EC2-4C60-A94A-8DC63055A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150328" y="2781275"/>
              <a:ext cx="763014" cy="763014"/>
            </a:xfrm>
            <a:prstGeom prst="rect">
              <a:avLst/>
            </a:prstGeom>
          </p:spPr>
        </p:pic>
        <p:sp>
          <p:nvSpPr>
            <p:cNvPr id="132" name="CaixaDeTexto 73">
              <a:extLst>
                <a:ext uri="{FF2B5EF4-FFF2-40B4-BE49-F238E27FC236}">
                  <a16:creationId xmlns:a16="http://schemas.microsoft.com/office/drawing/2014/main" id="{F8765EDE-911E-4FD6-AC13-61793A0725BB}"/>
                </a:ext>
              </a:extLst>
            </p:cNvPr>
            <p:cNvSpPr txBox="1"/>
            <p:nvPr/>
          </p:nvSpPr>
          <p:spPr>
            <a:xfrm>
              <a:off x="9216808" y="3605654"/>
              <a:ext cx="144239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rPr>
                <a:t>Separação e Faturamento</a:t>
              </a:r>
            </a:p>
          </p:txBody>
        </p:sp>
        <p:cxnSp>
          <p:nvCxnSpPr>
            <p:cNvPr id="133" name="Conector reto 74">
              <a:extLst>
                <a:ext uri="{FF2B5EF4-FFF2-40B4-BE49-F238E27FC236}">
                  <a16:creationId xmlns:a16="http://schemas.microsoft.com/office/drawing/2014/main" id="{55B8E458-CA45-4115-9F6E-48A42213C193}"/>
                </a:ext>
              </a:extLst>
            </p:cNvPr>
            <p:cNvCxnSpPr/>
            <p:nvPr/>
          </p:nvCxnSpPr>
          <p:spPr>
            <a:xfrm>
              <a:off x="8772001" y="3149223"/>
              <a:ext cx="456475" cy="0"/>
            </a:xfrm>
            <a:prstGeom prst="line">
              <a:avLst/>
            </a:prstGeom>
            <a:noFill/>
            <a:ln w="9525" cap="flat" cmpd="sng" algn="ctr">
              <a:solidFill>
                <a:srgbClr val="10069F">
                  <a:satMod val="120000"/>
                </a:srgbClr>
              </a:solidFill>
              <a:prstDash val="solid"/>
              <a:tailEnd type="triangle"/>
            </a:ln>
            <a:effectLst/>
          </p:spPr>
        </p:cxnSp>
      </p:grpSp>
      <p:grpSp>
        <p:nvGrpSpPr>
          <p:cNvPr id="134" name="Agrupar 75">
            <a:extLst>
              <a:ext uri="{FF2B5EF4-FFF2-40B4-BE49-F238E27FC236}">
                <a16:creationId xmlns:a16="http://schemas.microsoft.com/office/drawing/2014/main" id="{D897764E-0E2B-484F-856F-7E755D31F0A1}"/>
              </a:ext>
            </a:extLst>
          </p:cNvPr>
          <p:cNvGrpSpPr/>
          <p:nvPr/>
        </p:nvGrpSpPr>
        <p:grpSpPr>
          <a:xfrm>
            <a:off x="9989035" y="2911018"/>
            <a:ext cx="2969358" cy="1035964"/>
            <a:chOff x="9938004" y="2799292"/>
            <a:chExt cx="2969358" cy="1035964"/>
          </a:xfrm>
        </p:grpSpPr>
        <p:pic>
          <p:nvPicPr>
            <p:cNvPr id="135" name="Gráfico 134" descr="Caminhão">
              <a:extLst>
                <a:ext uri="{FF2B5EF4-FFF2-40B4-BE49-F238E27FC236}">
                  <a16:creationId xmlns:a16="http://schemas.microsoft.com/office/drawing/2014/main" id="{A142B136-BDD3-432E-A394-4BE0692E5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10416295" y="2863770"/>
              <a:ext cx="763014" cy="763014"/>
            </a:xfrm>
            <a:prstGeom prst="rect">
              <a:avLst/>
            </a:prstGeom>
          </p:spPr>
        </p:pic>
        <p:pic>
          <p:nvPicPr>
            <p:cNvPr id="136" name="Gráfico 135" descr="Marcador">
              <a:extLst>
                <a:ext uri="{FF2B5EF4-FFF2-40B4-BE49-F238E27FC236}">
                  <a16:creationId xmlns:a16="http://schemas.microsoft.com/office/drawing/2014/main" id="{1BBB7143-FD3A-443F-9403-CBACAEF9A6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11561661" y="2799292"/>
              <a:ext cx="675977" cy="675977"/>
            </a:xfrm>
            <a:prstGeom prst="rect">
              <a:avLst/>
            </a:prstGeom>
          </p:spPr>
        </p:pic>
        <p:sp>
          <p:nvSpPr>
            <p:cNvPr id="137" name="CaixaDeTexto 78">
              <a:extLst>
                <a:ext uri="{FF2B5EF4-FFF2-40B4-BE49-F238E27FC236}">
                  <a16:creationId xmlns:a16="http://schemas.microsoft.com/office/drawing/2014/main" id="{D5EAA28F-74BD-4C1F-88AF-6F1927F96CA3}"/>
                </a:ext>
              </a:extLst>
            </p:cNvPr>
            <p:cNvSpPr txBox="1"/>
            <p:nvPr/>
          </p:nvSpPr>
          <p:spPr>
            <a:xfrm>
              <a:off x="10374477" y="3573646"/>
              <a:ext cx="144239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</a:rPr>
                <a:t>Trânsito</a:t>
              </a:r>
            </a:p>
          </p:txBody>
        </p:sp>
        <p:sp>
          <p:nvSpPr>
            <p:cNvPr id="138" name="CaixaDeTexto 79">
              <a:extLst>
                <a:ext uri="{FF2B5EF4-FFF2-40B4-BE49-F238E27FC236}">
                  <a16:creationId xmlns:a16="http://schemas.microsoft.com/office/drawing/2014/main" id="{F91D88F4-34FE-4DC6-8D75-8CC0637B015F}"/>
                </a:ext>
              </a:extLst>
            </p:cNvPr>
            <p:cNvSpPr txBox="1"/>
            <p:nvPr/>
          </p:nvSpPr>
          <p:spPr>
            <a:xfrm>
              <a:off x="11464970" y="3546776"/>
              <a:ext cx="144239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panose="020B0604020202020204"/>
                </a:rPr>
                <a:t>Entrega</a:t>
              </a:r>
            </a:p>
          </p:txBody>
        </p:sp>
        <p:cxnSp>
          <p:nvCxnSpPr>
            <p:cNvPr id="139" name="Conector reto 80">
              <a:extLst>
                <a:ext uri="{FF2B5EF4-FFF2-40B4-BE49-F238E27FC236}">
                  <a16:creationId xmlns:a16="http://schemas.microsoft.com/office/drawing/2014/main" id="{4D28553B-5211-47F4-8943-216E10489BA8}"/>
                </a:ext>
              </a:extLst>
            </p:cNvPr>
            <p:cNvCxnSpPr/>
            <p:nvPr/>
          </p:nvCxnSpPr>
          <p:spPr>
            <a:xfrm>
              <a:off x="9938004" y="3128183"/>
              <a:ext cx="456475" cy="0"/>
            </a:xfrm>
            <a:prstGeom prst="line">
              <a:avLst/>
            </a:prstGeom>
            <a:noFill/>
            <a:ln w="9525" cap="flat" cmpd="sng" algn="ctr">
              <a:solidFill>
                <a:srgbClr val="10069F">
                  <a:satMod val="120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140" name="Conector reto 81">
              <a:extLst>
                <a:ext uri="{FF2B5EF4-FFF2-40B4-BE49-F238E27FC236}">
                  <a16:creationId xmlns:a16="http://schemas.microsoft.com/office/drawing/2014/main" id="{07E239FA-15F4-42E0-BABD-6A49A8FDEEAE}"/>
                </a:ext>
              </a:extLst>
            </p:cNvPr>
            <p:cNvCxnSpPr/>
            <p:nvPr/>
          </p:nvCxnSpPr>
          <p:spPr>
            <a:xfrm>
              <a:off x="11140490" y="3149223"/>
              <a:ext cx="456475" cy="0"/>
            </a:xfrm>
            <a:prstGeom prst="line">
              <a:avLst/>
            </a:prstGeom>
            <a:noFill/>
            <a:ln w="9525" cap="flat" cmpd="sng" algn="ctr">
              <a:solidFill>
                <a:srgbClr val="10069F">
                  <a:satMod val="120000"/>
                </a:srgbClr>
              </a:solidFill>
              <a:prstDash val="solid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7013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OxhYm4vrjRankYrFny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Lq9FP3TRSBhR6NESzO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Zs7PKrCzY_q4pepot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1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Tema do Office">
  <a:themeElements>
    <a:clrScheme name="Personalizada 22">
      <a:dk1>
        <a:sysClr val="windowText" lastClr="000000"/>
      </a:dk1>
      <a:lt1>
        <a:sysClr val="window" lastClr="FFFFFF"/>
      </a:lt1>
      <a:dk2>
        <a:srgbClr val="080808"/>
      </a:dk2>
      <a:lt2>
        <a:srgbClr val="F8F8F8"/>
      </a:lt2>
      <a:accent1>
        <a:srgbClr val="2C2D84"/>
      </a:accent1>
      <a:accent2>
        <a:srgbClr val="B3CAEA"/>
      </a:accent2>
      <a:accent3>
        <a:srgbClr val="754494"/>
      </a:accent3>
      <a:accent4>
        <a:srgbClr val="5FB98B"/>
      </a:accent4>
      <a:accent5>
        <a:srgbClr val="E62A3A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CDA1BA36C978448CBAF5272A4B9CB9" ma:contentTypeVersion="11" ma:contentTypeDescription="Create a new document." ma:contentTypeScope="" ma:versionID="6ccf7e533271224f70819b5ce00456bf">
  <xsd:schema xmlns:xsd="http://www.w3.org/2001/XMLSchema" xmlns:xs="http://www.w3.org/2001/XMLSchema" xmlns:p="http://schemas.microsoft.com/office/2006/metadata/properties" xmlns:ns3="680ad4f8-c4db-4cdc-a402-8b447bb6bdb9" xmlns:ns4="7b291b19-ab28-4952-9396-cba68d605430" targetNamespace="http://schemas.microsoft.com/office/2006/metadata/properties" ma:root="true" ma:fieldsID="bc24ac3f1420e60808a7d53d4376f356" ns3:_="" ns4:_="">
    <xsd:import namespace="680ad4f8-c4db-4cdc-a402-8b447bb6bdb9"/>
    <xsd:import namespace="7b291b19-ab28-4952-9396-cba68d60543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ad4f8-c4db-4cdc-a402-8b447bb6bd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291b19-ab28-4952-9396-cba68d60543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EE3886-3832-4885-A38D-3EBDA4CC8E1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D48D52C-6337-4ECF-BF95-7AE584CE68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5841C82-90B4-4C9F-9FAD-3151FBA637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ad4f8-c4db-4cdc-a402-8b447bb6bdb9"/>
    <ds:schemaRef ds:uri="7b291b19-ab28-4952-9396-cba68d6054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0</TotalTime>
  <Words>358</Words>
  <Application>Microsoft Office PowerPoint</Application>
  <PresentationFormat>Panorámica</PresentationFormat>
  <Paragraphs>153</Paragraphs>
  <Slides>5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9" baseType="lpstr">
      <vt:lpstr>Arial</vt:lpstr>
      <vt:lpstr>Calibri</vt:lpstr>
      <vt:lpstr>FreightSansLFPro SmBd</vt:lpstr>
      <vt:lpstr>Fungo</vt:lpstr>
      <vt:lpstr>Gilroy</vt:lpstr>
      <vt:lpstr>Gilroy ExtraBold</vt:lpstr>
      <vt:lpstr>Gilroy Light</vt:lpstr>
      <vt:lpstr>Manus</vt:lpstr>
      <vt:lpstr>Wingdings</vt:lpstr>
      <vt:lpstr>9_Personalizar Design</vt:lpstr>
      <vt:lpstr>8_Personalizar Design</vt:lpstr>
      <vt:lpstr>21_Personalizar design</vt:lpstr>
      <vt:lpstr>1_Tema do Office</vt:lpstr>
      <vt:lpstr>think-cell Slide</vt:lpstr>
      <vt:lpstr>Presentación de PowerPoint</vt:lpstr>
      <vt:lpstr>Presentación de PowerPoint</vt:lpstr>
      <vt:lpstr>LAO Warehouses Process Warehouses   </vt:lpstr>
      <vt:lpstr>Order Management Process Sales Order Service    </vt:lpstr>
      <vt:lpstr>Modelo Order Management Macro-Procesos para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o OPEX Propuesto  Macro-Procesos para CEDIs LAO   </dc:title>
  <dc:creator>Clark, Maria C</dc:creator>
  <cp:lastModifiedBy>Clark, Connie</cp:lastModifiedBy>
  <cp:revision>1</cp:revision>
  <dcterms:created xsi:type="dcterms:W3CDTF">2020-09-03T12:41:14Z</dcterms:created>
  <dcterms:modified xsi:type="dcterms:W3CDTF">2022-06-09T19:5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a425e9-ff5b-4164-ab21-177a29e6432d_Enabled">
    <vt:lpwstr>True</vt:lpwstr>
  </property>
  <property fmtid="{D5CDD505-2E9C-101B-9397-08002B2CF9AE}" pid="3" name="MSIP_Label_f3a425e9-ff5b-4164-ab21-177a29e6432d_SiteId">
    <vt:lpwstr>fee2180b-69b6-4afe-9f14-ccd70bd4c737</vt:lpwstr>
  </property>
  <property fmtid="{D5CDD505-2E9C-101B-9397-08002B2CF9AE}" pid="4" name="MSIP_Label_f3a425e9-ff5b-4164-ab21-177a29e6432d_Owner">
    <vt:lpwstr>Maria.C.Clark@kcc.com</vt:lpwstr>
  </property>
  <property fmtid="{D5CDD505-2E9C-101B-9397-08002B2CF9AE}" pid="5" name="MSIP_Label_f3a425e9-ff5b-4164-ab21-177a29e6432d_SetDate">
    <vt:lpwstr>2020-09-03T12:41:57.0094842Z</vt:lpwstr>
  </property>
  <property fmtid="{D5CDD505-2E9C-101B-9397-08002B2CF9AE}" pid="6" name="MSIP_Label_f3a425e9-ff5b-4164-ab21-177a29e6432d_Name">
    <vt:lpwstr>K-C Internal Only</vt:lpwstr>
  </property>
  <property fmtid="{D5CDD505-2E9C-101B-9397-08002B2CF9AE}" pid="7" name="MSIP_Label_f3a425e9-ff5b-4164-ab21-177a29e6432d_Application">
    <vt:lpwstr>Microsoft Azure Information Protection</vt:lpwstr>
  </property>
  <property fmtid="{D5CDD505-2E9C-101B-9397-08002B2CF9AE}" pid="8" name="MSIP_Label_f3a425e9-ff5b-4164-ab21-177a29e6432d_ActionId">
    <vt:lpwstr>e0ba982e-365d-458e-9bd7-64050e8b6d8e</vt:lpwstr>
  </property>
  <property fmtid="{D5CDD505-2E9C-101B-9397-08002B2CF9AE}" pid="9" name="MSIP_Label_f3a425e9-ff5b-4164-ab21-177a29e6432d_Extended_MSFT_Method">
    <vt:lpwstr>Manual</vt:lpwstr>
  </property>
  <property fmtid="{D5CDD505-2E9C-101B-9397-08002B2CF9AE}" pid="10" name="MSIP_Label_3f52e709-27cd-4bee-a620-278331e736b2_Enabled">
    <vt:lpwstr>True</vt:lpwstr>
  </property>
  <property fmtid="{D5CDD505-2E9C-101B-9397-08002B2CF9AE}" pid="11" name="MSIP_Label_3f52e709-27cd-4bee-a620-278331e736b2_SiteId">
    <vt:lpwstr>fee2180b-69b6-4afe-9f14-ccd70bd4c737</vt:lpwstr>
  </property>
  <property fmtid="{D5CDD505-2E9C-101B-9397-08002B2CF9AE}" pid="12" name="MSIP_Label_3f52e709-27cd-4bee-a620-278331e736b2_Owner">
    <vt:lpwstr>Maria.C.Clark@kcc.com</vt:lpwstr>
  </property>
  <property fmtid="{D5CDD505-2E9C-101B-9397-08002B2CF9AE}" pid="13" name="MSIP_Label_3f52e709-27cd-4bee-a620-278331e736b2_SetDate">
    <vt:lpwstr>2020-09-03T12:41:57.0094842Z</vt:lpwstr>
  </property>
  <property fmtid="{D5CDD505-2E9C-101B-9397-08002B2CF9AE}" pid="14" name="MSIP_Label_3f52e709-27cd-4bee-a620-278331e736b2_Name">
    <vt:lpwstr>Without Content Marking</vt:lpwstr>
  </property>
  <property fmtid="{D5CDD505-2E9C-101B-9397-08002B2CF9AE}" pid="15" name="MSIP_Label_3f52e709-27cd-4bee-a620-278331e736b2_Application">
    <vt:lpwstr>Microsoft Azure Information Protection</vt:lpwstr>
  </property>
  <property fmtid="{D5CDD505-2E9C-101B-9397-08002B2CF9AE}" pid="16" name="MSIP_Label_3f52e709-27cd-4bee-a620-278331e736b2_ActionId">
    <vt:lpwstr>e0ba982e-365d-458e-9bd7-64050e8b6d8e</vt:lpwstr>
  </property>
  <property fmtid="{D5CDD505-2E9C-101B-9397-08002B2CF9AE}" pid="17" name="MSIP_Label_3f52e709-27cd-4bee-a620-278331e736b2_Parent">
    <vt:lpwstr>f3a425e9-ff5b-4164-ab21-177a29e6432d</vt:lpwstr>
  </property>
  <property fmtid="{D5CDD505-2E9C-101B-9397-08002B2CF9AE}" pid="18" name="MSIP_Label_3f52e709-27cd-4bee-a620-278331e736b2_Extended_MSFT_Method">
    <vt:lpwstr>Manual</vt:lpwstr>
  </property>
  <property fmtid="{D5CDD505-2E9C-101B-9397-08002B2CF9AE}" pid="19" name="KCAutoClass">
    <vt:lpwstr>K-C Internal Only Without Content Marking</vt:lpwstr>
  </property>
  <property fmtid="{D5CDD505-2E9C-101B-9397-08002B2CF9AE}" pid="20" name="ContentTypeId">
    <vt:lpwstr>0x010100DFCDA1BA36C978448CBAF5272A4B9CB9</vt:lpwstr>
  </property>
</Properties>
</file>